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drawings/drawing2.xml" ContentType="application/vnd.openxmlformats-officedocument.drawingml.chartshapes+xml"/>
  <Override PartName="/ppt/charts/chart3.xml" ContentType="application/vnd.openxmlformats-officedocument.drawingml.chart+xml"/>
  <Override PartName="/ppt/drawings/drawing3.xml" ContentType="application/vnd.openxmlformats-officedocument.drawingml.chartshapes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drawings/drawing4.xml" ContentType="application/vnd.openxmlformats-officedocument.drawingml.chartshapes+xml"/>
  <Override PartName="/ppt/charts/chart6.xml" ContentType="application/vnd.openxmlformats-officedocument.drawingml.chart+xml"/>
  <Override PartName="/ppt/notesSlides/notesSlide4.xml" ContentType="application/vnd.openxmlformats-officedocument.presentationml.notesSlid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721" r:id="rId1"/>
  </p:sldMasterIdLst>
  <p:notesMasterIdLst>
    <p:notesMasterId r:id="rId31"/>
  </p:notesMasterIdLst>
  <p:handoutMasterIdLst>
    <p:handoutMasterId r:id="rId32"/>
  </p:handoutMasterIdLst>
  <p:sldIdLst>
    <p:sldId id="1740" r:id="rId2"/>
    <p:sldId id="2840" r:id="rId3"/>
    <p:sldId id="2873" r:id="rId4"/>
    <p:sldId id="2844" r:id="rId5"/>
    <p:sldId id="2855" r:id="rId6"/>
    <p:sldId id="2854" r:id="rId7"/>
    <p:sldId id="2874" r:id="rId8"/>
    <p:sldId id="2856" r:id="rId9"/>
    <p:sldId id="2857" r:id="rId10"/>
    <p:sldId id="2858" r:id="rId11"/>
    <p:sldId id="2875" r:id="rId12"/>
    <p:sldId id="2846" r:id="rId13"/>
    <p:sldId id="2876" r:id="rId14"/>
    <p:sldId id="2848" r:id="rId15"/>
    <p:sldId id="2877" r:id="rId16"/>
    <p:sldId id="2871" r:id="rId17"/>
    <p:sldId id="2880" r:id="rId18"/>
    <p:sldId id="2850" r:id="rId19"/>
    <p:sldId id="2866" r:id="rId20"/>
    <p:sldId id="2867" r:id="rId21"/>
    <p:sldId id="2881" r:id="rId22"/>
    <p:sldId id="2852" r:id="rId23"/>
    <p:sldId id="2883" r:id="rId24"/>
    <p:sldId id="2862" r:id="rId25"/>
    <p:sldId id="2882" r:id="rId26"/>
    <p:sldId id="2863" r:id="rId27"/>
    <p:sldId id="2860" r:id="rId28"/>
    <p:sldId id="2869" r:id="rId29"/>
    <p:sldId id="2868" r:id="rId30"/>
  </p:sldIdLst>
  <p:sldSz cx="9906000" cy="6858000" type="A4"/>
  <p:notesSz cx="6797675" cy="9928225"/>
  <p:custDataLst>
    <p:tags r:id="rId33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Default Section" id="{2644DA41-8080-4384-9E16-9049773DD17A}">
          <p14:sldIdLst>
            <p14:sldId id="1740"/>
            <p14:sldId id="2840"/>
            <p14:sldId id="2873"/>
            <p14:sldId id="2844"/>
            <p14:sldId id="2855"/>
            <p14:sldId id="2854"/>
            <p14:sldId id="2874"/>
            <p14:sldId id="2856"/>
            <p14:sldId id="2857"/>
            <p14:sldId id="2858"/>
            <p14:sldId id="2875"/>
            <p14:sldId id="2846"/>
            <p14:sldId id="2876"/>
            <p14:sldId id="2848"/>
            <p14:sldId id="2877"/>
            <p14:sldId id="2871"/>
            <p14:sldId id="2880"/>
            <p14:sldId id="2850"/>
            <p14:sldId id="2866"/>
            <p14:sldId id="2867"/>
            <p14:sldId id="2881"/>
            <p14:sldId id="2852"/>
            <p14:sldId id="2883"/>
            <p14:sldId id="2862"/>
            <p14:sldId id="2882"/>
            <p14:sldId id="2863"/>
            <p14:sldId id="2860"/>
            <p14:sldId id="2869"/>
            <p14:sldId id="2868"/>
          </p14:sldIdLst>
        </p14:section>
        <p14:section name="Anexos" id="{CB3BC2C1-79C5-4E3D-B73B-ACBA7D70506B}">
          <p14:sldIdLst/>
        </p14:section>
        <p14:section name="Plano Corte Operações" id="{1198D4C4-0943-4AAC-B44E-10927D7C094E}">
          <p14:sldIdLst/>
        </p14:section>
      </p14:sectionLst>
    </p:ext>
    <p:ext uri="{EFAFB233-063F-42B5-8137-9DF3F51BA10A}">
      <p15:sldGuideLst xmlns:p15="http://schemas.microsoft.com/office/powerpoint/2012/main" xmlns="">
        <p15:guide id="1" orient="horz" pos="283">
          <p15:clr>
            <a:srgbClr val="A4A3A4"/>
          </p15:clr>
        </p15:guide>
        <p15:guide id="2" orient="horz" pos="4138">
          <p15:clr>
            <a:srgbClr val="A4A3A4"/>
          </p15:clr>
        </p15:guide>
        <p15:guide id="3" orient="horz" pos="4164">
          <p15:clr>
            <a:srgbClr val="A4A3A4"/>
          </p15:clr>
        </p15:guide>
        <p15:guide id="4" orient="horz" pos="3928">
          <p15:clr>
            <a:srgbClr val="A4A3A4"/>
          </p15:clr>
        </p15:guide>
        <p15:guide id="5" pos="6135">
          <p15:clr>
            <a:srgbClr val="A4A3A4"/>
          </p15:clr>
        </p15:guide>
        <p15:guide id="6" pos="171">
          <p15:clr>
            <a:srgbClr val="A4A3A4"/>
          </p15:clr>
        </p15:guide>
        <p15:guide id="7" pos="893">
          <p15:clr>
            <a:srgbClr val="A4A3A4"/>
          </p15:clr>
        </p15:guide>
        <p15:guide id="8" pos="334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jose.r.gomez.herrera" initials="jrgh" lastIdx="107" clrIdx="0"/>
  <p:cmAuthor id="1" name="lasse.kari" initials="lk" lastIdx="1" clrIdx="1"/>
  <p:cmAuthor id="2" name="n.gavela.martinez" initials="n" lastIdx="71" clrIdx="2"/>
  <p:cmAuthor id="3" name="stephanie.bronchard" initials="sb" lastIdx="6" clrIdx="3"/>
  <p:cmAuthor id="4" name="jose.r.gomez.herrera" initials="j" lastIdx="60" clrIdx="4"/>
  <p:cmAuthor id="5" name="Rodriguez Gaya, Guillermo" initials="RGG" lastIdx="4" clrIdx="5"/>
  <p:cmAuthor id="6" name="Gómez Herrera, José R." initials="JRGH" lastIdx="21" clrIdx="6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notes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900"/>
    <a:srgbClr val="FEFBEE"/>
    <a:srgbClr val="FBFCEB"/>
    <a:srgbClr val="FFFFFF"/>
    <a:srgbClr val="C9DBFF"/>
    <a:srgbClr val="CCFFCC"/>
    <a:srgbClr val="00246C"/>
    <a:srgbClr val="557799"/>
    <a:srgbClr val="CCFF99"/>
    <a:srgbClr val="CCE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B344D84-9AFB-497E-A393-DC336BA19D2E}" styleName="Mittlere Formatvorlage 3 - Akz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DA37D80-6434-44D0-A028-1B22A696006F}" styleName="Estilo Claro 3 - Destaque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544" autoAdjust="0"/>
    <p:restoredTop sz="96092" autoAdjust="0"/>
  </p:normalViewPr>
  <p:slideViewPr>
    <p:cSldViewPr snapToGrid="0" snapToObjects="1" showGuides="1">
      <p:cViewPr>
        <p:scale>
          <a:sx n="100" d="100"/>
          <a:sy n="100" d="100"/>
        </p:scale>
        <p:origin x="-426" y="624"/>
      </p:cViewPr>
      <p:guideLst>
        <p:guide orient="horz" pos="283"/>
        <p:guide orient="horz" pos="4138"/>
        <p:guide orient="horz" pos="4164"/>
        <p:guide orient="horz" pos="3928"/>
        <p:guide pos="6135"/>
        <p:guide pos="171"/>
        <p:guide pos="893"/>
        <p:guide pos="334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>
        <p:scale>
          <a:sx n="200" d="100"/>
          <a:sy n="200" d="100"/>
        </p:scale>
        <p:origin x="-474" y="3144"/>
      </p:cViewPr>
      <p:guideLst>
        <p:guide orient="horz" pos="3127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handoutMaster" Target="handoutMasters/handoutMaster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A-2015_LM_DNEE\5&#186;%20CC%202015\Tabela%20suporte%20a%20gr&#225;ficos_DNEE_CC2015.xlsx" TargetMode="Externa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oleObject" Target="file:///C:\A-2015_LM_DNEE\5&#186;%20CC%202015\Tabela%20suporte%20a%20gr&#225;ficos_DNEE_CC2015.xlsx" TargetMode="Externa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oleObject" Target="file:///C:\A-2015_LM_DNEE\5&#186;%20CC%202015\Tabela%20suporte%20a%20gr&#225;ficos_DNEE_CC2015.xlsx" TargetMode="Externa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oleObject" Target="file:///C:\A-2015_LM_DNEE\5&#186;%20CC%202015\Tabela%20suporte%20a%20gr&#225;ficos_DNEE_CC2015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A-2015_LM_DNEE\5&#186;%20CC%202015\Tabela%20suporte%20a%20gr&#225;ficos_DNEE_CC2015.xlsx" TargetMode="Externa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oleObject" Target="file:///C:\A-2015_LM_DNEE\5&#186;%20CC%202015\Tabela%20suporte%20a%20gr&#225;ficos_DNEE_CC2015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C:\A-2015_LM_DNEE\5&#186;%20CC%202015\Tabela%20suporte%20a%20gr&#225;ficos_DNEE_CC2015.xlsx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C:\A-2015_LM_DNEE\5&#186;%20CC%202015\Tabela%20suporte%20a%20gr&#225;ficos_DNEE_CC2015.xlsx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C:\A-2015_LM_DNEE\5&#186;%20CC%202015\Tabela%20suporte%20a%20gr&#225;ficos_DNEE_CC2015.xlsx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file:///C:\A-2015_LM_DNEE\5&#186;%20CC%202015\Tabela%20suporte%20a%20gr&#225;ficos_DNEE_CC2015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pt-PT" sz="1200"/>
              <a:t>Potência Instalada</a:t>
            </a:r>
          </a:p>
        </c:rich>
      </c:tx>
      <c:layout>
        <c:manualLayout>
          <c:xMode val="edge"/>
          <c:yMode val="edge"/>
          <c:x val="0.28236111111111112"/>
          <c:y val="1.3888888888888909E-2"/>
        </c:manualLayout>
      </c:layout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Folha1!$B$17</c:f>
              <c:strCache>
                <c:ptCount val="1"/>
                <c:pt idx="0">
                  <c:v>Meta</c:v>
                </c:pt>
              </c:strCache>
            </c:strRef>
          </c:tx>
          <c:marker>
            <c:symbol val="none"/>
          </c:marker>
          <c:cat>
            <c:numRef>
              <c:f>Folha1!$C$16:$K$16</c:f>
              <c:numCache>
                <c:formatCode>General</c:formatCode>
                <c:ptCount val="6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</c:numCache>
            </c:numRef>
          </c:cat>
          <c:val>
            <c:numRef>
              <c:f>Folha1!$C$17:$K$17</c:f>
              <c:numCache>
                <c:formatCode>#,##0</c:formatCode>
                <c:ptCount val="6"/>
                <c:pt idx="0">
                  <c:v>1917</c:v>
                </c:pt>
                <c:pt idx="1">
                  <c:v>2486</c:v>
                </c:pt>
                <c:pt idx="2">
                  <c:v>2861</c:v>
                </c:pt>
                <c:pt idx="3">
                  <c:v>3561</c:v>
                </c:pt>
                <c:pt idx="4">
                  <c:v>5828</c:v>
                </c:pt>
                <c:pt idx="5">
                  <c:v>7879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Folha1!$B$18</c:f>
              <c:strCache>
                <c:ptCount val="1"/>
                <c:pt idx="0">
                  <c:v>Real</c:v>
                </c:pt>
              </c:strCache>
            </c:strRef>
          </c:tx>
          <c:spPr>
            <a:ln>
              <a:solidFill>
                <a:schemeClr val="accent6">
                  <a:lumMod val="60000"/>
                  <a:lumOff val="40000"/>
                </a:schemeClr>
              </a:solidFill>
            </a:ln>
          </c:spPr>
          <c:marker>
            <c:symbol val="none"/>
          </c:marker>
          <c:cat>
            <c:numRef>
              <c:f>Folha1!$C$16:$K$16</c:f>
              <c:numCache>
                <c:formatCode>General</c:formatCode>
                <c:ptCount val="6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</c:numCache>
            </c:numRef>
          </c:cat>
          <c:val>
            <c:numRef>
              <c:f>Folha1!$C$18:$K$18</c:f>
              <c:numCache>
                <c:formatCode>#,##0</c:formatCode>
                <c:ptCount val="6"/>
                <c:pt idx="0">
                  <c:v>1763</c:v>
                </c:pt>
                <c:pt idx="1">
                  <c:v>2020</c:v>
                </c:pt>
                <c:pt idx="2">
                  <c:v>2220</c:v>
                </c:pt>
                <c:pt idx="3">
                  <c:v>2388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Folha1!$B$19</c:f>
              <c:strCache>
                <c:ptCount val="1"/>
                <c:pt idx="0">
                  <c:v>Previsão</c:v>
                </c:pt>
              </c:strCache>
            </c:strRef>
          </c:tx>
          <c:spPr>
            <a:ln>
              <a:solidFill>
                <a:srgbClr val="009900"/>
              </a:solidFill>
              <a:prstDash val="dash"/>
            </a:ln>
          </c:spPr>
          <c:marker>
            <c:symbol val="none"/>
          </c:marker>
          <c:cat>
            <c:numRef>
              <c:f>Folha1!$C$16:$K$16</c:f>
              <c:numCache>
                <c:formatCode>General</c:formatCode>
                <c:ptCount val="6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</c:numCache>
            </c:numRef>
          </c:cat>
          <c:val>
            <c:numRef>
              <c:f>Folha1!$C$19:$K$19</c:f>
              <c:numCache>
                <c:formatCode>General</c:formatCode>
                <c:ptCount val="6"/>
                <c:pt idx="3">
                  <c:v>2543</c:v>
                </c:pt>
                <c:pt idx="4">
                  <c:v>3323</c:v>
                </c:pt>
                <c:pt idx="5">
                  <c:v>588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4236032"/>
        <c:axId val="24237568"/>
      </c:lineChart>
      <c:catAx>
        <c:axId val="24236032"/>
        <c:scaling>
          <c:orientation val="minMax"/>
        </c:scaling>
        <c:delete val="0"/>
        <c:axPos val="b"/>
        <c:majorGridlines>
          <c:spPr>
            <a:ln>
              <a:prstDash val="sysDash"/>
            </a:ln>
          </c:spPr>
        </c:majorGridlines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pt-PT"/>
          </a:p>
        </c:txPr>
        <c:crossAx val="24237568"/>
        <c:crosses val="autoZero"/>
        <c:auto val="1"/>
        <c:lblAlgn val="ctr"/>
        <c:lblOffset val="100"/>
        <c:noMultiLvlLbl val="0"/>
      </c:catAx>
      <c:valAx>
        <c:axId val="24237568"/>
        <c:scaling>
          <c:orientation val="minMax"/>
        </c:scaling>
        <c:delete val="0"/>
        <c:axPos val="l"/>
        <c:majorGridlines/>
        <c:numFmt formatCode="#,##0" sourceLinked="1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pt-PT"/>
          </a:p>
        </c:txPr>
        <c:crossAx val="24236032"/>
        <c:crosses val="autoZero"/>
        <c:crossBetween val="between"/>
      </c:valAx>
      <c:spPr>
        <a:ln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</a:ln>
      </c:spPr>
    </c:plotArea>
    <c:legend>
      <c:legendPos val="r"/>
      <c:layout/>
      <c:overlay val="0"/>
    </c:legend>
    <c:plotVisOnly val="1"/>
    <c:dispBlanksAs val="gap"/>
    <c:showDLblsOverMax val="0"/>
  </c:chart>
  <c:spPr>
    <a:ln>
      <a:noFill/>
    </a:ln>
  </c:spPr>
  <c:externalData r:id="rId1">
    <c:autoUpdate val="0"/>
  </c:externalData>
  <c:userShapes r:id="rId2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200"/>
            </a:pPr>
            <a:r>
              <a:rPr lang="pt-PT" sz="1200"/>
              <a:t>População Total Servida</a:t>
            </a:r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Folha3!$Q$8</c:f>
              <c:strCache>
                <c:ptCount val="1"/>
                <c:pt idx="0">
                  <c:v>Acréscimo Anual de Beneficiários Servidos  </c:v>
                </c:pt>
              </c:strCache>
            </c:strRef>
          </c:tx>
          <c:spPr>
            <a:ln>
              <a:solidFill>
                <a:schemeClr val="accent6">
                  <a:lumMod val="60000"/>
                  <a:lumOff val="40000"/>
                </a:schemeClr>
              </a:solidFill>
            </a:ln>
          </c:spPr>
          <c:marker>
            <c:symbol val="none"/>
          </c:marker>
          <c:cat>
            <c:strRef>
              <c:f>Folha3!$P$9:$P$12</c:f>
              <c:strCache>
                <c:ptCount val="4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 (1ºSem)</c:v>
                </c:pt>
              </c:strCache>
            </c:strRef>
          </c:cat>
          <c:val>
            <c:numRef>
              <c:f>Folha3!$Q$9:$Q$12</c:f>
              <c:numCache>
                <c:formatCode>#,##0</c:formatCode>
                <c:ptCount val="4"/>
                <c:pt idx="0">
                  <c:v>302340</c:v>
                </c:pt>
                <c:pt idx="1">
                  <c:v>1071745</c:v>
                </c:pt>
                <c:pt idx="2">
                  <c:v>1049025</c:v>
                </c:pt>
                <c:pt idx="3">
                  <c:v>793350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Folha3!$R$8</c:f>
              <c:strCache>
                <c:ptCount val="1"/>
                <c:pt idx="0">
                  <c:v>Acumulado de Beneficiários Servidos  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ymbol val="none"/>
          </c:marker>
          <c:cat>
            <c:strRef>
              <c:f>Folha3!$P$9:$P$12</c:f>
              <c:strCache>
                <c:ptCount val="4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 (1ºSem)</c:v>
                </c:pt>
              </c:strCache>
            </c:strRef>
          </c:cat>
          <c:val>
            <c:numRef>
              <c:f>Folha3!$R$9:$R$12</c:f>
              <c:numCache>
                <c:formatCode>#,##0</c:formatCode>
                <c:ptCount val="4"/>
                <c:pt idx="0">
                  <c:v>3118975</c:v>
                </c:pt>
                <c:pt idx="1">
                  <c:v>4190720</c:v>
                </c:pt>
                <c:pt idx="2">
                  <c:v>5239745</c:v>
                </c:pt>
                <c:pt idx="3">
                  <c:v>603329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4259968"/>
        <c:axId val="64261504"/>
      </c:lineChart>
      <c:catAx>
        <c:axId val="642599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pt-PT"/>
          </a:p>
        </c:txPr>
        <c:crossAx val="64261504"/>
        <c:crosses val="autoZero"/>
        <c:auto val="1"/>
        <c:lblAlgn val="ctr"/>
        <c:lblOffset val="100"/>
        <c:noMultiLvlLbl val="0"/>
      </c:catAx>
      <c:valAx>
        <c:axId val="64261504"/>
        <c:scaling>
          <c:orientation val="minMax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Nº Beneficiários</a:t>
                </a:r>
              </a:p>
            </c:rich>
          </c:tx>
          <c:layout/>
          <c:overlay val="0"/>
        </c:title>
        <c:numFmt formatCode="#,##0" sourceLinked="1"/>
        <c:majorTickMark val="out"/>
        <c:minorTickMark val="none"/>
        <c:tickLblPos val="nextTo"/>
        <c:crossAx val="64259968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pt-PT" sz="1200" dirty="0" smtClean="0"/>
              <a:t>Energia Produzida</a:t>
            </a:r>
            <a:endParaRPr lang="pt-PT" sz="1200" dirty="0"/>
          </a:p>
        </c:rich>
      </c:tx>
      <c:layout>
        <c:manualLayout>
          <c:xMode val="edge"/>
          <c:yMode val="edge"/>
          <c:x val="0.24878477690288714"/>
          <c:y val="4.6296296296296301E-2"/>
        </c:manualLayout>
      </c:layout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Folha1!$B$25</c:f>
              <c:strCache>
                <c:ptCount val="1"/>
                <c:pt idx="0">
                  <c:v>Meta</c:v>
                </c:pt>
              </c:strCache>
            </c:strRef>
          </c:tx>
          <c:marker>
            <c:symbol val="none"/>
          </c:marker>
          <c:cat>
            <c:numRef>
              <c:f>Folha1!$C$24:$K$24</c:f>
              <c:numCache>
                <c:formatCode>General</c:formatCode>
                <c:ptCount val="6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</c:numCache>
            </c:numRef>
          </c:cat>
          <c:val>
            <c:numRef>
              <c:f>Folha1!$C$25:$K$25</c:f>
              <c:numCache>
                <c:formatCode>#,##0</c:formatCode>
                <c:ptCount val="6"/>
                <c:pt idx="0">
                  <c:v>7710</c:v>
                </c:pt>
                <c:pt idx="1">
                  <c:v>9553</c:v>
                </c:pt>
                <c:pt idx="2">
                  <c:v>12618</c:v>
                </c:pt>
                <c:pt idx="3">
                  <c:v>17018</c:v>
                </c:pt>
                <c:pt idx="4">
                  <c:v>21168</c:v>
                </c:pt>
                <c:pt idx="5">
                  <c:v>34346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Folha1!$B$26</c:f>
              <c:strCache>
                <c:ptCount val="1"/>
                <c:pt idx="0">
                  <c:v>Real</c:v>
                </c:pt>
              </c:strCache>
            </c:strRef>
          </c:tx>
          <c:spPr>
            <a:ln>
              <a:solidFill>
                <a:schemeClr val="accent6">
                  <a:lumMod val="60000"/>
                  <a:lumOff val="40000"/>
                </a:schemeClr>
              </a:solidFill>
            </a:ln>
          </c:spPr>
          <c:marker>
            <c:symbol val="none"/>
          </c:marker>
          <c:cat>
            <c:strRef>
              <c:f>Folha1!$C$24:$L$24</c:f>
              <c:strCach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 </c:v>
                </c:pt>
              </c:strCache>
            </c:strRef>
          </c:cat>
          <c:val>
            <c:numRef>
              <c:f>Folha1!$C$26:$K$26</c:f>
              <c:numCache>
                <c:formatCode>#,##0</c:formatCode>
                <c:ptCount val="6"/>
                <c:pt idx="0">
                  <c:v>7710</c:v>
                </c:pt>
                <c:pt idx="1">
                  <c:v>8142</c:v>
                </c:pt>
                <c:pt idx="2">
                  <c:v>9500</c:v>
                </c:pt>
                <c:pt idx="3">
                  <c:v>9864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Folha1!$B$27</c:f>
              <c:strCache>
                <c:ptCount val="1"/>
                <c:pt idx="0">
                  <c:v>Previsão</c:v>
                </c:pt>
              </c:strCache>
            </c:strRef>
          </c:tx>
          <c:spPr>
            <a:ln>
              <a:solidFill>
                <a:srgbClr val="00B050"/>
              </a:solidFill>
              <a:prstDash val="dash"/>
            </a:ln>
          </c:spPr>
          <c:marker>
            <c:symbol val="none"/>
          </c:marker>
          <c:cat>
            <c:numRef>
              <c:f>Folha1!$C$24:$K$24</c:f>
              <c:numCache>
                <c:formatCode>General</c:formatCode>
                <c:ptCount val="6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</c:numCache>
            </c:numRef>
          </c:cat>
          <c:val>
            <c:numRef>
              <c:f>Folha1!$C$27:$K$27</c:f>
              <c:numCache>
                <c:formatCode>General</c:formatCode>
                <c:ptCount val="6"/>
                <c:pt idx="3" formatCode="#,##0">
                  <c:v>9864</c:v>
                </c:pt>
                <c:pt idx="4" formatCode="#,##0">
                  <c:v>17018</c:v>
                </c:pt>
                <c:pt idx="5" formatCode="#,##0">
                  <c:v>2116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4352256"/>
        <c:axId val="24353792"/>
      </c:lineChart>
      <c:catAx>
        <c:axId val="24352256"/>
        <c:scaling>
          <c:orientation val="minMax"/>
        </c:scaling>
        <c:delete val="0"/>
        <c:axPos val="b"/>
        <c:majorGridlines>
          <c:spPr>
            <a:ln>
              <a:prstDash val="sysDash"/>
            </a:ln>
          </c:spPr>
        </c:majorGridlines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pt-PT"/>
          </a:p>
        </c:txPr>
        <c:crossAx val="24353792"/>
        <c:crosses val="autoZero"/>
        <c:auto val="1"/>
        <c:lblAlgn val="ctr"/>
        <c:lblOffset val="100"/>
        <c:noMultiLvlLbl val="0"/>
      </c:catAx>
      <c:valAx>
        <c:axId val="24353792"/>
        <c:scaling>
          <c:orientation val="minMax"/>
        </c:scaling>
        <c:delete val="0"/>
        <c:axPos val="l"/>
        <c:majorGridlines/>
        <c:numFmt formatCode="#,##0" sourceLinked="1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pt-PT"/>
          </a:p>
        </c:txPr>
        <c:crossAx val="24352256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spPr>
    <a:ln>
      <a:noFill/>
    </a:ln>
  </c:spPr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pt-PT" sz="1200" dirty="0"/>
              <a:t>Energia Distribuída</a:t>
            </a:r>
          </a:p>
        </c:rich>
      </c:tx>
      <c:layout>
        <c:manualLayout>
          <c:xMode val="edge"/>
          <c:yMode val="edge"/>
          <c:x val="0.20320822397200383"/>
          <c:y val="2.7777777777777901E-2"/>
        </c:manualLayout>
      </c:layout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Folha1!$B$31</c:f>
              <c:strCache>
                <c:ptCount val="1"/>
                <c:pt idx="0">
                  <c:v>Meta</c:v>
                </c:pt>
              </c:strCache>
            </c:strRef>
          </c:tx>
          <c:marker>
            <c:symbol val="none"/>
          </c:marker>
          <c:cat>
            <c:numRef>
              <c:f>Folha1!$C$30:$K$30</c:f>
              <c:numCache>
                <c:formatCode>General</c:formatCode>
                <c:ptCount val="6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</c:numCache>
            </c:numRef>
          </c:cat>
          <c:val>
            <c:numRef>
              <c:f>Folha1!$C$31:$K$31</c:f>
              <c:numCache>
                <c:formatCode>#,##0</c:formatCode>
                <c:ptCount val="6"/>
                <c:pt idx="0">
                  <c:v>6554</c:v>
                </c:pt>
                <c:pt idx="1">
                  <c:v>8120</c:v>
                </c:pt>
                <c:pt idx="2">
                  <c:v>10725</c:v>
                </c:pt>
                <c:pt idx="3">
                  <c:v>14465</c:v>
                </c:pt>
                <c:pt idx="4">
                  <c:v>17993</c:v>
                </c:pt>
                <c:pt idx="5">
                  <c:v>29214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Folha1!$B$32</c:f>
              <c:strCache>
                <c:ptCount val="1"/>
                <c:pt idx="0">
                  <c:v>Real</c:v>
                </c:pt>
              </c:strCache>
            </c:strRef>
          </c:tx>
          <c:spPr>
            <a:ln>
              <a:solidFill>
                <a:schemeClr val="accent6">
                  <a:lumMod val="60000"/>
                  <a:lumOff val="40000"/>
                </a:schemeClr>
              </a:solidFill>
            </a:ln>
          </c:spPr>
          <c:marker>
            <c:symbol val="none"/>
          </c:marker>
          <c:cat>
            <c:numRef>
              <c:f>Folha1!$C$30:$L$30</c:f>
              <c:numCache>
                <c:formatCode>General</c:formatCod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</c:numCache>
            </c:numRef>
          </c:cat>
          <c:val>
            <c:numRef>
              <c:f>Folha1!$C$32:$K$32</c:f>
              <c:numCache>
                <c:formatCode>#,##0</c:formatCode>
                <c:ptCount val="6"/>
                <c:pt idx="0">
                  <c:v>5375</c:v>
                </c:pt>
                <c:pt idx="1">
                  <c:v>6797</c:v>
                </c:pt>
                <c:pt idx="2">
                  <c:v>7970</c:v>
                </c:pt>
                <c:pt idx="3">
                  <c:v>8688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Folha1!$B$33</c:f>
              <c:strCache>
                <c:ptCount val="1"/>
                <c:pt idx="0">
                  <c:v>Previsão</c:v>
                </c:pt>
              </c:strCache>
            </c:strRef>
          </c:tx>
          <c:spPr>
            <a:ln>
              <a:solidFill>
                <a:srgbClr val="00B050"/>
              </a:solidFill>
              <a:prstDash val="dash"/>
            </a:ln>
          </c:spPr>
          <c:marker>
            <c:symbol val="none"/>
          </c:marker>
          <c:cat>
            <c:numRef>
              <c:f>Folha1!$C$30:$K$30</c:f>
              <c:numCache>
                <c:formatCode>General</c:formatCode>
                <c:ptCount val="6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</c:numCache>
            </c:numRef>
          </c:cat>
          <c:val>
            <c:numRef>
              <c:f>Folha1!$C$33:$K$33</c:f>
              <c:numCache>
                <c:formatCode>General</c:formatCode>
                <c:ptCount val="6"/>
                <c:pt idx="3" formatCode="#,##0">
                  <c:v>8688</c:v>
                </c:pt>
                <c:pt idx="4" formatCode="#,##0">
                  <c:v>14465</c:v>
                </c:pt>
                <c:pt idx="5" formatCode="#,##0">
                  <c:v>1799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6439552"/>
        <c:axId val="56441088"/>
      </c:lineChart>
      <c:catAx>
        <c:axId val="56439552"/>
        <c:scaling>
          <c:orientation val="minMax"/>
        </c:scaling>
        <c:delete val="0"/>
        <c:axPos val="b"/>
        <c:majorGridlines>
          <c:spPr>
            <a:ln>
              <a:prstDash val="sysDash"/>
            </a:ln>
          </c:spPr>
        </c:majorGridlines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pt-PT"/>
          </a:p>
        </c:txPr>
        <c:crossAx val="56441088"/>
        <c:crosses val="autoZero"/>
        <c:auto val="1"/>
        <c:lblAlgn val="ctr"/>
        <c:lblOffset val="100"/>
        <c:noMultiLvlLbl val="0"/>
      </c:catAx>
      <c:valAx>
        <c:axId val="56441088"/>
        <c:scaling>
          <c:orientation val="minMax"/>
        </c:scaling>
        <c:delete val="0"/>
        <c:axPos val="l"/>
        <c:majorGridlines/>
        <c:numFmt formatCode="#,##0" sourceLinked="1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pt-PT"/>
          </a:p>
        </c:txPr>
        <c:crossAx val="56439552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spPr>
    <a:ln>
      <a:noFill/>
    </a:ln>
  </c:spPr>
  <c:externalData r:id="rId1">
    <c:autoUpdate val="0"/>
  </c:externalData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pt-PT" sz="1200" dirty="0" smtClean="0"/>
              <a:t>Evolução Pontas Máximas por Sistema </a:t>
            </a:r>
          </a:p>
          <a:p>
            <a:pPr>
              <a:defRPr/>
            </a:pPr>
            <a:r>
              <a:rPr lang="pt-PT" sz="1200" dirty="0" smtClean="0"/>
              <a:t>2012</a:t>
            </a:r>
            <a:r>
              <a:rPr lang="pt-PT" sz="1200" baseline="0" dirty="0" smtClean="0"/>
              <a:t> -1º Sem 2015</a:t>
            </a:r>
            <a:endParaRPr lang="pt-PT" sz="1200" dirty="0"/>
          </a:p>
        </c:rich>
      </c:tx>
      <c:layout/>
      <c:overlay val="0"/>
    </c:title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v>2012</c:v>
          </c:tx>
          <c:spPr>
            <a:solidFill>
              <a:schemeClr val="accent6">
                <a:lumMod val="60000"/>
                <a:lumOff val="40000"/>
              </a:schemeClr>
            </a:solidFill>
          </c:spPr>
          <c:invertIfNegative val="0"/>
          <c:cat>
            <c:strRef>
              <c:f>Folha3!$A$4:$A$9</c:f>
              <c:strCache>
                <c:ptCount val="6"/>
                <c:pt idx="0">
                  <c:v>Norte </c:v>
                </c:pt>
                <c:pt idx="1">
                  <c:v>Centro </c:v>
                </c:pt>
                <c:pt idx="2">
                  <c:v>Sul</c:v>
                </c:pt>
                <c:pt idx="3">
                  <c:v>Leste </c:v>
                </c:pt>
                <c:pt idx="4">
                  <c:v>Cabinda </c:v>
                </c:pt>
                <c:pt idx="5">
                  <c:v>Ponta Maxima  </c:v>
                </c:pt>
              </c:strCache>
            </c:strRef>
          </c:cat>
          <c:val>
            <c:numRef>
              <c:f>Folha3!$B$4:$B$9</c:f>
              <c:numCache>
                <c:formatCode>General</c:formatCode>
                <c:ptCount val="6"/>
                <c:pt idx="0">
                  <c:v>783</c:v>
                </c:pt>
                <c:pt idx="1">
                  <c:v>112</c:v>
                </c:pt>
                <c:pt idx="2">
                  <c:v>67</c:v>
                </c:pt>
                <c:pt idx="3">
                  <c:v>22</c:v>
                </c:pt>
                <c:pt idx="4">
                  <c:v>50</c:v>
                </c:pt>
                <c:pt idx="5">
                  <c:v>980</c:v>
                </c:pt>
              </c:numCache>
            </c:numRef>
          </c:val>
        </c:ser>
        <c:ser>
          <c:idx val="1"/>
          <c:order val="1"/>
          <c:tx>
            <c:v>2013</c:v>
          </c:tx>
          <c:invertIfNegative val="0"/>
          <c:cat>
            <c:strRef>
              <c:f>Folha3!$A$4:$A$9</c:f>
              <c:strCache>
                <c:ptCount val="6"/>
                <c:pt idx="0">
                  <c:v>Norte </c:v>
                </c:pt>
                <c:pt idx="1">
                  <c:v>Centro </c:v>
                </c:pt>
                <c:pt idx="2">
                  <c:v>Sul</c:v>
                </c:pt>
                <c:pt idx="3">
                  <c:v>Leste </c:v>
                </c:pt>
                <c:pt idx="4">
                  <c:v>Cabinda </c:v>
                </c:pt>
                <c:pt idx="5">
                  <c:v>Ponta Maxima  </c:v>
                </c:pt>
              </c:strCache>
            </c:strRef>
          </c:cat>
          <c:val>
            <c:numRef>
              <c:f>Folha3!$C$4:$C$9</c:f>
              <c:numCache>
                <c:formatCode>General</c:formatCode>
                <c:ptCount val="6"/>
                <c:pt idx="0">
                  <c:v>967</c:v>
                </c:pt>
                <c:pt idx="1">
                  <c:v>146</c:v>
                </c:pt>
                <c:pt idx="2">
                  <c:v>84</c:v>
                </c:pt>
                <c:pt idx="3">
                  <c:v>23</c:v>
                </c:pt>
                <c:pt idx="4">
                  <c:v>53</c:v>
                </c:pt>
                <c:pt idx="5" formatCode="#,##0">
                  <c:v>1248</c:v>
                </c:pt>
              </c:numCache>
            </c:numRef>
          </c:val>
        </c:ser>
        <c:ser>
          <c:idx val="2"/>
          <c:order val="2"/>
          <c:tx>
            <c:v>2014</c:v>
          </c:tx>
          <c:invertIfNegative val="0"/>
          <c:cat>
            <c:strRef>
              <c:f>Folha3!$A$4:$A$9</c:f>
              <c:strCache>
                <c:ptCount val="6"/>
                <c:pt idx="0">
                  <c:v>Norte </c:v>
                </c:pt>
                <c:pt idx="1">
                  <c:v>Centro </c:v>
                </c:pt>
                <c:pt idx="2">
                  <c:v>Sul</c:v>
                </c:pt>
                <c:pt idx="3">
                  <c:v>Leste </c:v>
                </c:pt>
                <c:pt idx="4">
                  <c:v>Cabinda </c:v>
                </c:pt>
                <c:pt idx="5">
                  <c:v>Ponta Maxima  </c:v>
                </c:pt>
              </c:strCache>
            </c:strRef>
          </c:cat>
          <c:val>
            <c:numRef>
              <c:f>Folha3!$D$4:$D$9</c:f>
              <c:numCache>
                <c:formatCode>General</c:formatCode>
                <c:ptCount val="6"/>
                <c:pt idx="0" formatCode="#,##0">
                  <c:v>1096</c:v>
                </c:pt>
                <c:pt idx="1">
                  <c:v>121</c:v>
                </c:pt>
                <c:pt idx="2">
                  <c:v>90</c:v>
                </c:pt>
                <c:pt idx="3">
                  <c:v>27</c:v>
                </c:pt>
                <c:pt idx="4">
                  <c:v>65</c:v>
                </c:pt>
                <c:pt idx="5" formatCode="#,##0">
                  <c:v>1399</c:v>
                </c:pt>
              </c:numCache>
            </c:numRef>
          </c:val>
        </c:ser>
        <c:ser>
          <c:idx val="3"/>
          <c:order val="3"/>
          <c:tx>
            <c:v>1ºSem 2015</c:v>
          </c:tx>
          <c:spPr>
            <a:solidFill>
              <a:srgbClr val="00B050"/>
            </a:solidFill>
          </c:spPr>
          <c:invertIfNegative val="0"/>
          <c:cat>
            <c:strRef>
              <c:f>Folha3!$A$4:$A$9</c:f>
              <c:strCache>
                <c:ptCount val="6"/>
                <c:pt idx="0">
                  <c:v>Norte </c:v>
                </c:pt>
                <c:pt idx="1">
                  <c:v>Centro </c:v>
                </c:pt>
                <c:pt idx="2">
                  <c:v>Sul</c:v>
                </c:pt>
                <c:pt idx="3">
                  <c:v>Leste </c:v>
                </c:pt>
                <c:pt idx="4">
                  <c:v>Cabinda </c:v>
                </c:pt>
                <c:pt idx="5">
                  <c:v>Ponta Maxima  </c:v>
                </c:pt>
              </c:strCache>
            </c:strRef>
          </c:cat>
          <c:val>
            <c:numRef>
              <c:f>Folha3!$E$4:$E$9</c:f>
              <c:numCache>
                <c:formatCode>General</c:formatCode>
                <c:ptCount val="6"/>
                <c:pt idx="0">
                  <c:v>1098</c:v>
                </c:pt>
                <c:pt idx="1">
                  <c:v>133</c:v>
                </c:pt>
                <c:pt idx="2">
                  <c:v>104</c:v>
                </c:pt>
                <c:pt idx="3">
                  <c:v>33</c:v>
                </c:pt>
                <c:pt idx="4">
                  <c:v>77</c:v>
                </c:pt>
                <c:pt idx="5" formatCode="#,##0">
                  <c:v>144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cylinder"/>
        <c:axId val="57045376"/>
        <c:axId val="57046912"/>
        <c:axId val="0"/>
      </c:bar3DChart>
      <c:catAx>
        <c:axId val="5704537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pt-PT"/>
          </a:p>
        </c:txPr>
        <c:crossAx val="57046912"/>
        <c:crosses val="autoZero"/>
        <c:auto val="1"/>
        <c:lblAlgn val="ctr"/>
        <c:lblOffset val="100"/>
        <c:noMultiLvlLbl val="0"/>
      </c:catAx>
      <c:valAx>
        <c:axId val="57046912"/>
        <c:scaling>
          <c:orientation val="minMax"/>
        </c:scaling>
        <c:delete val="0"/>
        <c:axPos val="l"/>
        <c:majorGridlines/>
        <c:title>
          <c:tx>
            <c:rich>
              <a:bodyPr rot="0" vert="horz"/>
              <a:lstStyle/>
              <a:p>
                <a:pPr>
                  <a:defRPr/>
                </a:pPr>
                <a:r>
                  <a:rPr lang="pt-PT"/>
                  <a:t>MW</a:t>
                </a:r>
              </a:p>
            </c:rich>
          </c:tx>
          <c:layout>
            <c:manualLayout>
              <c:xMode val="edge"/>
              <c:yMode val="edge"/>
              <c:x val="0.12223753280839895"/>
              <c:y val="0.10287457932789078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pt-PT"/>
          </a:p>
        </c:txPr>
        <c:crossAx val="57045376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/>
            </a:pPr>
            <a:r>
              <a:rPr lang="pt-PT" sz="1200" dirty="0"/>
              <a:t>Potência</a:t>
            </a:r>
            <a:r>
              <a:rPr lang="pt-PT" sz="1200" baseline="0" dirty="0"/>
              <a:t> Instalada </a:t>
            </a:r>
            <a:r>
              <a:rPr lang="pt-PT" sz="1200" baseline="0" dirty="0" smtClean="0"/>
              <a:t>Hídrica </a:t>
            </a:r>
            <a:r>
              <a:rPr lang="pt-PT" sz="1200" baseline="0" dirty="0"/>
              <a:t>e Térmica</a:t>
            </a:r>
            <a:endParaRPr lang="pt-PT" sz="1200" dirty="0"/>
          </a:p>
        </c:rich>
      </c:tx>
      <c:layout>
        <c:manualLayout>
          <c:xMode val="edge"/>
          <c:yMode val="edge"/>
          <c:x val="0.1206181102362207"/>
          <c:y val="4.1666666666666664E-2"/>
        </c:manualLayout>
      </c:layout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Folha2!$B$2</c:f>
              <c:strCache>
                <c:ptCount val="1"/>
                <c:pt idx="0">
                  <c:v>Hídrica (MW) </c:v>
                </c:pt>
              </c:strCache>
            </c:strRef>
          </c:tx>
          <c:spPr>
            <a:ln>
              <a:solidFill>
                <a:schemeClr val="accent6">
                  <a:lumMod val="60000"/>
                  <a:lumOff val="40000"/>
                </a:schemeClr>
              </a:solidFill>
            </a:ln>
          </c:spPr>
          <c:marker>
            <c:symbol val="none"/>
          </c:marker>
          <c:cat>
            <c:strRef>
              <c:f>Folha2!$A$3:$A$6</c:f>
              <c:strCache>
                <c:ptCount val="4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 (1ºSem) </c:v>
                </c:pt>
              </c:strCache>
            </c:strRef>
          </c:cat>
          <c:val>
            <c:numRef>
              <c:f>Folha2!$B$3:$B$6</c:f>
              <c:numCache>
                <c:formatCode>General</c:formatCode>
                <c:ptCount val="4"/>
                <c:pt idx="0">
                  <c:v>866</c:v>
                </c:pt>
                <c:pt idx="1">
                  <c:v>946</c:v>
                </c:pt>
                <c:pt idx="2">
                  <c:v>938</c:v>
                </c:pt>
                <c:pt idx="3">
                  <c:v>996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Folha2!$C$2</c:f>
              <c:strCache>
                <c:ptCount val="1"/>
                <c:pt idx="0">
                  <c:v>Térmica (MW) </c:v>
                </c:pt>
              </c:strCache>
            </c:strRef>
          </c:tx>
          <c:spPr>
            <a:ln>
              <a:solidFill>
                <a:schemeClr val="accent3">
                  <a:lumMod val="75000"/>
                </a:schemeClr>
              </a:solidFill>
            </a:ln>
          </c:spPr>
          <c:marker>
            <c:symbol val="none"/>
          </c:marker>
          <c:cat>
            <c:strRef>
              <c:f>Folha2!$A$3:$A$6</c:f>
              <c:strCache>
                <c:ptCount val="4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 (1ºSem) </c:v>
                </c:pt>
              </c:strCache>
            </c:strRef>
          </c:cat>
          <c:val>
            <c:numRef>
              <c:f>Folha2!$C$3:$C$6</c:f>
              <c:numCache>
                <c:formatCode>#,##0</c:formatCode>
                <c:ptCount val="4"/>
                <c:pt idx="0" formatCode="General">
                  <c:v>897</c:v>
                </c:pt>
                <c:pt idx="1">
                  <c:v>1074</c:v>
                </c:pt>
                <c:pt idx="2">
                  <c:v>1282</c:v>
                </c:pt>
                <c:pt idx="3">
                  <c:v>1392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Folha2!$D$2</c:f>
              <c:strCache>
                <c:ptCount val="1"/>
                <c:pt idx="0">
                  <c:v>Total (MW) 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ymbol val="none"/>
          </c:marker>
          <c:cat>
            <c:strRef>
              <c:f>Folha2!$A$3:$A$6</c:f>
              <c:strCache>
                <c:ptCount val="4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 (1ºSem) </c:v>
                </c:pt>
              </c:strCache>
            </c:strRef>
          </c:cat>
          <c:val>
            <c:numRef>
              <c:f>Folha2!$D$3:$D$6</c:f>
              <c:numCache>
                <c:formatCode>#,##0</c:formatCode>
                <c:ptCount val="4"/>
                <c:pt idx="0">
                  <c:v>1763</c:v>
                </c:pt>
                <c:pt idx="1">
                  <c:v>2020</c:v>
                </c:pt>
                <c:pt idx="2">
                  <c:v>2220</c:v>
                </c:pt>
                <c:pt idx="3">
                  <c:v>238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8156928"/>
        <c:axId val="58158464"/>
      </c:lineChart>
      <c:catAx>
        <c:axId val="58156928"/>
        <c:scaling>
          <c:orientation val="minMax"/>
        </c:scaling>
        <c:delete val="0"/>
        <c:axPos val="b"/>
        <c:majorGridlines>
          <c:spPr>
            <a:ln>
              <a:prstDash val="sysDash"/>
            </a:ln>
          </c:spPr>
        </c:majorGridlines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pt-PT"/>
          </a:p>
        </c:txPr>
        <c:crossAx val="58158464"/>
        <c:crosses val="autoZero"/>
        <c:auto val="1"/>
        <c:lblAlgn val="ctr"/>
        <c:lblOffset val="100"/>
        <c:noMultiLvlLbl val="0"/>
      </c:catAx>
      <c:valAx>
        <c:axId val="58158464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pt-PT"/>
          </a:p>
        </c:txPr>
        <c:crossAx val="58156928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spPr>
    <a:ln>
      <a:noFill/>
    </a:ln>
  </c:spPr>
  <c:externalData r:id="rId1">
    <c:autoUpdate val="0"/>
  </c:externalData>
  <c:userShapes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pt-PT" sz="1200" dirty="0"/>
              <a:t>Repartição da</a:t>
            </a:r>
            <a:r>
              <a:rPr lang="pt-PT" sz="1200" baseline="0" dirty="0"/>
              <a:t> Potência </a:t>
            </a:r>
            <a:r>
              <a:rPr lang="pt-PT" sz="1200" baseline="0" dirty="0" smtClean="0"/>
              <a:t>Instalada </a:t>
            </a:r>
            <a:r>
              <a:rPr lang="pt-PT" sz="1200" dirty="0" smtClean="0"/>
              <a:t>por</a:t>
            </a:r>
            <a:r>
              <a:rPr lang="pt-PT" sz="1200" baseline="0" dirty="0" smtClean="0"/>
              <a:t> Fonte </a:t>
            </a:r>
          </a:p>
          <a:p>
            <a:pPr>
              <a:defRPr/>
            </a:pPr>
            <a:r>
              <a:rPr lang="pt-PT" sz="1200" baseline="0" dirty="0" smtClean="0"/>
              <a:t>de </a:t>
            </a:r>
            <a:r>
              <a:rPr lang="pt-PT" sz="1200" baseline="0" dirty="0"/>
              <a:t>Produção</a:t>
            </a:r>
            <a:endParaRPr lang="pt-PT" sz="1200" dirty="0"/>
          </a:p>
        </c:rich>
      </c:tx>
      <c:layout>
        <c:manualLayout>
          <c:xMode val="edge"/>
          <c:yMode val="edge"/>
          <c:x val="0.14395822397200372"/>
          <c:y val="5.5555555555555469E-2"/>
        </c:manualLayout>
      </c:layout>
      <c:overlay val="0"/>
    </c:title>
    <c:autoTitleDeleted val="0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ser>
          <c:idx val="0"/>
          <c:order val="0"/>
          <c:explosion val="25"/>
          <c:dPt>
            <c:idx val="0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</c:spPr>
          </c:dPt>
          <c:dPt>
            <c:idx val="1"/>
            <c:bubble3D val="0"/>
            <c:spPr>
              <a:solidFill>
                <a:schemeClr val="accent3"/>
              </a:solidFill>
            </c:spPr>
          </c:dPt>
          <c:dLbls>
            <c:dLbl>
              <c:idx val="0"/>
              <c:layout>
                <c:manualLayout>
                  <c:x val="-4.2701662292213484E-2"/>
                  <c:y val="-8.7945829687955654E-2"/>
                </c:manualLayout>
              </c:layout>
              <c:tx>
                <c:rich>
                  <a:bodyPr/>
                  <a:lstStyle/>
                  <a:p>
                    <a:r>
                      <a:rPr lang="en-US" sz="1100" b="1" dirty="0" err="1"/>
                      <a:t>Hídrica</a:t>
                    </a:r>
                    <a:r>
                      <a:rPr lang="en-US" sz="1100" b="1" dirty="0"/>
                      <a:t>
</a:t>
                    </a:r>
                    <a:r>
                      <a:rPr lang="en-US" sz="1100" b="1" dirty="0" smtClean="0"/>
                      <a:t>41,7%</a:t>
                    </a:r>
                    <a:endParaRPr lang="en-US" sz="1100" b="1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1"/>
              <c:layout>
                <c:manualLayout>
                  <c:x val="-9.7843394575678044E-3"/>
                  <c:y val="-0.12959718576844598"/>
                </c:manualLayout>
              </c:layout>
              <c:tx>
                <c:rich>
                  <a:bodyPr/>
                  <a:lstStyle/>
                  <a:p>
                    <a:r>
                      <a:rPr lang="en-US" b="1" dirty="0" err="1"/>
                      <a:t>Térmica</a:t>
                    </a:r>
                    <a:r>
                      <a:rPr lang="en-US" b="1" dirty="0"/>
                      <a:t>
</a:t>
                    </a:r>
                    <a:r>
                      <a:rPr lang="en-US" b="1" dirty="0" smtClean="0"/>
                      <a:t>58,3%</a:t>
                    </a:r>
                    <a:endParaRPr lang="en-US" b="1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2"/>
              <c:delete val="1"/>
            </c:dLbl>
            <c:showLegendKey val="0"/>
            <c:showVal val="0"/>
            <c:showCatName val="1"/>
            <c:showSerName val="0"/>
            <c:showPercent val="1"/>
            <c:showBubbleSize val="0"/>
            <c:showLeaderLines val="0"/>
          </c:dLbls>
          <c:cat>
            <c:strRef>
              <c:f>Folha2!$A$14:$A$16</c:f>
              <c:strCache>
                <c:ptCount val="2"/>
                <c:pt idx="0">
                  <c:v>Hídrica</c:v>
                </c:pt>
                <c:pt idx="1">
                  <c:v>Térmica</c:v>
                </c:pt>
              </c:strCache>
            </c:strRef>
          </c:cat>
          <c:val>
            <c:numRef>
              <c:f>Folha2!$B$14:$B$16</c:f>
              <c:numCache>
                <c:formatCode>General</c:formatCode>
                <c:ptCount val="3"/>
                <c:pt idx="0">
                  <c:v>996</c:v>
                </c:pt>
                <c:pt idx="1">
                  <c:v>1392</c:v>
                </c:pt>
              </c:numCache>
            </c:numRef>
          </c:val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0"/>
        </c:dLbls>
      </c:pie3DChart>
    </c:plotArea>
    <c:plotVisOnly val="1"/>
    <c:dispBlanksAs val="zero"/>
    <c:showDLblsOverMax val="0"/>
  </c:chart>
  <c:spPr>
    <a:ln>
      <a:noFill/>
    </a:ln>
  </c:sp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pt-PT" sz="1200" dirty="0"/>
              <a:t>Evolução </a:t>
            </a:r>
            <a:r>
              <a:rPr lang="pt-PT" sz="1200" dirty="0" smtClean="0"/>
              <a:t>anual das </a:t>
            </a:r>
            <a:r>
              <a:rPr lang="pt-PT" sz="1200" dirty="0"/>
              <a:t>Linha </a:t>
            </a:r>
            <a:r>
              <a:rPr lang="pt-PT" sz="1200" dirty="0" smtClean="0"/>
              <a:t>Construídas</a:t>
            </a:r>
            <a:endParaRPr lang="pt-PT" sz="1200" dirty="0"/>
          </a:p>
        </c:rich>
      </c:tx>
      <c:layout>
        <c:manualLayout>
          <c:xMode val="edge"/>
          <c:yMode val="edge"/>
          <c:x val="0.23847922134733182"/>
          <c:y val="2.3148148148148147E-2"/>
        </c:manualLayout>
      </c:layout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2012</c:v>
          </c:tx>
          <c:spPr>
            <a:solidFill>
              <a:srgbClr val="FF0000"/>
            </a:solidFill>
          </c:spPr>
          <c:invertIfNegative val="0"/>
          <c:cat>
            <c:strRef>
              <c:f>Folha4!$A$3:$A$8</c:f>
              <c:strCache>
                <c:ptCount val="6"/>
                <c:pt idx="0">
                  <c:v>400kV</c:v>
                </c:pt>
                <c:pt idx="1">
                  <c:v>220kV</c:v>
                </c:pt>
                <c:pt idx="2">
                  <c:v>150kV</c:v>
                </c:pt>
                <c:pt idx="3">
                  <c:v>132kV</c:v>
                </c:pt>
                <c:pt idx="4">
                  <c:v>60kV</c:v>
                </c:pt>
                <c:pt idx="5">
                  <c:v>Total</c:v>
                </c:pt>
              </c:strCache>
            </c:strRef>
          </c:cat>
          <c:val>
            <c:numRef>
              <c:f>Folha4!$B$3:$B$8</c:f>
              <c:numCache>
                <c:formatCode>#,##0</c:formatCode>
                <c:ptCount val="6"/>
                <c:pt idx="0">
                  <c:v>281</c:v>
                </c:pt>
                <c:pt idx="1">
                  <c:v>1722</c:v>
                </c:pt>
                <c:pt idx="2">
                  <c:v>188</c:v>
                </c:pt>
                <c:pt idx="3">
                  <c:v>57</c:v>
                </c:pt>
                <c:pt idx="4">
                  <c:v>1183</c:v>
                </c:pt>
                <c:pt idx="5">
                  <c:v>3577</c:v>
                </c:pt>
              </c:numCache>
            </c:numRef>
          </c:val>
        </c:ser>
        <c:ser>
          <c:idx val="1"/>
          <c:order val="1"/>
          <c:tx>
            <c:v>2013</c:v>
          </c:tx>
          <c:spPr>
            <a:solidFill>
              <a:schemeClr val="accent6">
                <a:lumMod val="60000"/>
                <a:lumOff val="40000"/>
              </a:schemeClr>
            </a:solidFill>
          </c:spPr>
          <c:invertIfNegative val="0"/>
          <c:cat>
            <c:strRef>
              <c:f>Folha4!$A$3:$A$8</c:f>
              <c:strCache>
                <c:ptCount val="6"/>
                <c:pt idx="0">
                  <c:v>400kV</c:v>
                </c:pt>
                <c:pt idx="1">
                  <c:v>220kV</c:v>
                </c:pt>
                <c:pt idx="2">
                  <c:v>150kV</c:v>
                </c:pt>
                <c:pt idx="3">
                  <c:v>132kV</c:v>
                </c:pt>
                <c:pt idx="4">
                  <c:v>60kV</c:v>
                </c:pt>
                <c:pt idx="5">
                  <c:v>Total</c:v>
                </c:pt>
              </c:strCache>
            </c:strRef>
          </c:cat>
          <c:val>
            <c:numRef>
              <c:f>Folha4!$C$3:$C$8</c:f>
              <c:numCache>
                <c:formatCode>#,##0</c:formatCode>
                <c:ptCount val="6"/>
                <c:pt idx="0">
                  <c:v>281</c:v>
                </c:pt>
                <c:pt idx="1">
                  <c:v>1722</c:v>
                </c:pt>
                <c:pt idx="2">
                  <c:v>188</c:v>
                </c:pt>
                <c:pt idx="3">
                  <c:v>57</c:v>
                </c:pt>
                <c:pt idx="4">
                  <c:v>1332</c:v>
                </c:pt>
                <c:pt idx="5">
                  <c:v>3726</c:v>
                </c:pt>
              </c:numCache>
            </c:numRef>
          </c:val>
        </c:ser>
        <c:ser>
          <c:idx val="2"/>
          <c:order val="2"/>
          <c:tx>
            <c:v>2014</c:v>
          </c:tx>
          <c:spPr>
            <a:solidFill>
              <a:srgbClr val="00B050"/>
            </a:solidFill>
          </c:spPr>
          <c:invertIfNegative val="0"/>
          <c:cat>
            <c:strRef>
              <c:f>Folha4!$A$3:$A$8</c:f>
              <c:strCache>
                <c:ptCount val="6"/>
                <c:pt idx="0">
                  <c:v>400kV</c:v>
                </c:pt>
                <c:pt idx="1">
                  <c:v>220kV</c:v>
                </c:pt>
                <c:pt idx="2">
                  <c:v>150kV</c:v>
                </c:pt>
                <c:pt idx="3">
                  <c:v>132kV</c:v>
                </c:pt>
                <c:pt idx="4">
                  <c:v>60kV</c:v>
                </c:pt>
                <c:pt idx="5">
                  <c:v>Total</c:v>
                </c:pt>
              </c:strCache>
            </c:strRef>
          </c:cat>
          <c:val>
            <c:numRef>
              <c:f>Folha4!$D$3:$D$8</c:f>
              <c:numCache>
                <c:formatCode>#,##0</c:formatCode>
                <c:ptCount val="6"/>
                <c:pt idx="0">
                  <c:v>281</c:v>
                </c:pt>
                <c:pt idx="1">
                  <c:v>1722</c:v>
                </c:pt>
                <c:pt idx="2">
                  <c:v>188</c:v>
                </c:pt>
                <c:pt idx="3">
                  <c:v>57</c:v>
                </c:pt>
                <c:pt idx="4">
                  <c:v>1378</c:v>
                </c:pt>
                <c:pt idx="5">
                  <c:v>3772</c:v>
                </c:pt>
              </c:numCache>
            </c:numRef>
          </c:val>
        </c:ser>
        <c:ser>
          <c:idx val="3"/>
          <c:order val="3"/>
          <c:tx>
            <c:v>2015 (1º Sem)</c:v>
          </c:tx>
          <c:spPr>
            <a:solidFill>
              <a:srgbClr val="FFFF00"/>
            </a:solidFill>
          </c:spPr>
          <c:invertIfNegative val="0"/>
          <c:cat>
            <c:strRef>
              <c:f>Folha4!$A$3:$A$8</c:f>
              <c:strCache>
                <c:ptCount val="6"/>
                <c:pt idx="0">
                  <c:v>400kV</c:v>
                </c:pt>
                <c:pt idx="1">
                  <c:v>220kV</c:v>
                </c:pt>
                <c:pt idx="2">
                  <c:v>150kV</c:v>
                </c:pt>
                <c:pt idx="3">
                  <c:v>132kV</c:v>
                </c:pt>
                <c:pt idx="4">
                  <c:v>60kV</c:v>
                </c:pt>
                <c:pt idx="5">
                  <c:v>Total</c:v>
                </c:pt>
              </c:strCache>
            </c:strRef>
          </c:cat>
          <c:val>
            <c:numRef>
              <c:f>Folha4!$E$3:$E$8</c:f>
              <c:numCache>
                <c:formatCode>#,##0</c:formatCode>
                <c:ptCount val="6"/>
                <c:pt idx="0">
                  <c:v>281</c:v>
                </c:pt>
                <c:pt idx="1">
                  <c:v>1899</c:v>
                </c:pt>
                <c:pt idx="2">
                  <c:v>188</c:v>
                </c:pt>
                <c:pt idx="3">
                  <c:v>57</c:v>
                </c:pt>
                <c:pt idx="4">
                  <c:v>1394</c:v>
                </c:pt>
                <c:pt idx="5">
                  <c:v>396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8407936"/>
        <c:axId val="58409728"/>
      </c:barChart>
      <c:catAx>
        <c:axId val="584079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pt-PT"/>
          </a:p>
        </c:txPr>
        <c:crossAx val="58409728"/>
        <c:crosses val="autoZero"/>
        <c:auto val="1"/>
        <c:lblAlgn val="ctr"/>
        <c:lblOffset val="100"/>
        <c:noMultiLvlLbl val="0"/>
      </c:catAx>
      <c:valAx>
        <c:axId val="58409728"/>
        <c:scaling>
          <c:orientation val="minMax"/>
        </c:scaling>
        <c:delete val="0"/>
        <c:axPos val="l"/>
        <c:majorGridlines/>
        <c:title>
          <c:tx>
            <c:rich>
              <a:bodyPr rot="0" vert="horz"/>
              <a:lstStyle/>
              <a:p>
                <a:pPr>
                  <a:defRPr/>
                </a:pPr>
                <a:r>
                  <a:rPr lang="pt-PT"/>
                  <a:t>km</a:t>
                </a:r>
              </a:p>
            </c:rich>
          </c:tx>
          <c:layout>
            <c:manualLayout>
              <c:xMode val="edge"/>
              <c:yMode val="edge"/>
              <c:x val="0.10555555555555562"/>
              <c:y val="5.8642825896762875E-2"/>
            </c:manualLayout>
          </c:layout>
          <c:overlay val="0"/>
        </c:title>
        <c:numFmt formatCode="#,##0" sourceLinked="1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pt-PT"/>
          </a:p>
        </c:txPr>
        <c:crossAx val="58407936"/>
        <c:crosses val="autoZero"/>
        <c:crossBetween val="between"/>
      </c:valAx>
    </c:plotArea>
    <c:legend>
      <c:legendPos val="b"/>
      <c:layout/>
      <c:overlay val="0"/>
      <c:txPr>
        <a:bodyPr/>
        <a:lstStyle/>
        <a:p>
          <a:pPr>
            <a:defRPr b="1"/>
          </a:pPr>
          <a:endParaRPr lang="pt-PT"/>
        </a:p>
      </c:txPr>
    </c:legend>
    <c:plotVisOnly val="1"/>
    <c:dispBlanksAs val="gap"/>
    <c:showDLblsOverMax val="0"/>
  </c:chart>
  <c:spPr>
    <a:ln>
      <a:noFill/>
    </a:ln>
  </c:spPr>
  <c:txPr>
    <a:bodyPr/>
    <a:lstStyle/>
    <a:p>
      <a:pPr>
        <a:defRPr>
          <a:ln>
            <a:noFill/>
          </a:ln>
        </a:defRPr>
      </a:pPr>
      <a:endParaRPr lang="pt-PT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pt-PT" sz="1200" dirty="0"/>
              <a:t>Potência </a:t>
            </a:r>
            <a:r>
              <a:rPr lang="pt-PT" sz="1200" dirty="0" smtClean="0"/>
              <a:t>Instalada em Subestações</a:t>
            </a:r>
            <a:endParaRPr lang="pt-PT" sz="1200" dirty="0"/>
          </a:p>
        </c:rich>
      </c:tx>
      <c:layout>
        <c:manualLayout>
          <c:xMode val="edge"/>
          <c:yMode val="edge"/>
          <c:x val="0.39661387698998191"/>
          <c:y val="2.8880866425992802E-2"/>
        </c:manualLayout>
      </c:layout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Folha4!$I$8</c:f>
              <c:strCache>
                <c:ptCount val="1"/>
                <c:pt idx="0">
                  <c:v>Pot. Instalada</c:v>
                </c:pt>
              </c:strCache>
            </c:strRef>
          </c:tx>
          <c:marker>
            <c:symbol val="none"/>
          </c:marker>
          <c:cat>
            <c:strRef>
              <c:f>Folha4!$J$7:$M$7</c:f>
              <c:strCache>
                <c:ptCount val="4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                 (1º Sem.)</c:v>
                </c:pt>
              </c:strCache>
            </c:strRef>
          </c:cat>
          <c:val>
            <c:numRef>
              <c:f>Folha4!$J$8:$M$8</c:f>
              <c:numCache>
                <c:formatCode>#,##0</c:formatCode>
                <c:ptCount val="4"/>
                <c:pt idx="0">
                  <c:v>4611</c:v>
                </c:pt>
                <c:pt idx="1">
                  <c:v>4611</c:v>
                </c:pt>
                <c:pt idx="2">
                  <c:v>7237</c:v>
                </c:pt>
                <c:pt idx="3">
                  <c:v>759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8430592"/>
        <c:axId val="58432128"/>
      </c:lineChart>
      <c:catAx>
        <c:axId val="5843059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pt-PT"/>
          </a:p>
        </c:txPr>
        <c:crossAx val="58432128"/>
        <c:crosses val="autoZero"/>
        <c:auto val="1"/>
        <c:lblAlgn val="ctr"/>
        <c:lblOffset val="100"/>
        <c:noMultiLvlLbl val="0"/>
      </c:catAx>
      <c:valAx>
        <c:axId val="58432128"/>
        <c:scaling>
          <c:orientation val="minMax"/>
        </c:scaling>
        <c:delete val="0"/>
        <c:axPos val="l"/>
        <c:majorGridlines/>
        <c:title>
          <c:tx>
            <c:rich>
              <a:bodyPr rot="0" vert="horz"/>
              <a:lstStyle/>
              <a:p>
                <a:pPr>
                  <a:defRPr/>
                </a:pPr>
                <a:r>
                  <a:rPr lang="en-US"/>
                  <a:t>MVA</a:t>
                </a:r>
              </a:p>
            </c:rich>
          </c:tx>
          <c:layout>
            <c:manualLayout>
              <c:xMode val="edge"/>
              <c:yMode val="edge"/>
              <c:x val="0.10833333333333336"/>
              <c:y val="6.2654199475065619E-2"/>
            </c:manualLayout>
          </c:layout>
          <c:overlay val="0"/>
        </c:title>
        <c:numFmt formatCode="#,##0" sourceLinked="1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pt-PT"/>
          </a:p>
        </c:txPr>
        <c:crossAx val="58430592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pt-PT" sz="1200"/>
              <a:t>Novas Ligações</a:t>
            </a:r>
          </a:p>
        </c:rich>
      </c:tx>
      <c:layout/>
      <c:overlay val="0"/>
    </c:title>
    <c:autoTitleDeleted val="0"/>
    <c:view3D>
      <c:rotX val="15"/>
      <c:rotY val="2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standard"/>
        <c:varyColors val="0"/>
        <c:ser>
          <c:idx val="0"/>
          <c:order val="0"/>
          <c:tx>
            <c:strRef>
              <c:f>Folha3!$B$18</c:f>
              <c:strCache>
                <c:ptCount val="1"/>
                <c:pt idx="0">
                  <c:v>Acréscimo anual Novas Residências</c:v>
                </c:pt>
              </c:strCache>
            </c:strRef>
          </c:tx>
          <c:invertIfNegative val="0"/>
          <c:cat>
            <c:strRef>
              <c:f>Folha3!$A$19:$A$22</c:f>
              <c:strCache>
                <c:ptCount val="4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 (1ºSem)</c:v>
                </c:pt>
              </c:strCache>
            </c:strRef>
          </c:cat>
          <c:val>
            <c:numRef>
              <c:f>Folha3!$B$19:$B$22</c:f>
              <c:numCache>
                <c:formatCode>#,##0</c:formatCode>
                <c:ptCount val="4"/>
                <c:pt idx="0">
                  <c:v>60468</c:v>
                </c:pt>
                <c:pt idx="1">
                  <c:v>214349</c:v>
                </c:pt>
                <c:pt idx="2">
                  <c:v>209805</c:v>
                </c:pt>
                <c:pt idx="3">
                  <c:v>158670</c:v>
                </c:pt>
              </c:numCache>
            </c:numRef>
          </c:val>
        </c:ser>
        <c:ser>
          <c:idx val="1"/>
          <c:order val="1"/>
          <c:tx>
            <c:strRef>
              <c:f>Folha3!$C$18</c:f>
              <c:strCache>
                <c:ptCount val="1"/>
                <c:pt idx="0">
                  <c:v>Acumulado de Novas Ligações</c:v>
                </c:pt>
              </c:strCache>
            </c:strRef>
          </c:tx>
          <c:spPr>
            <a:solidFill>
              <a:srgbClr val="FFFF00"/>
            </a:solidFill>
          </c:spPr>
          <c:invertIfNegative val="0"/>
          <c:cat>
            <c:strRef>
              <c:f>Folha3!$A$19:$A$22</c:f>
              <c:strCache>
                <c:ptCount val="4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 (1ºSem)</c:v>
                </c:pt>
              </c:strCache>
            </c:strRef>
          </c:cat>
          <c:val>
            <c:numRef>
              <c:f>Folha3!$C$19:$C$22</c:f>
              <c:numCache>
                <c:formatCode>#,##0</c:formatCode>
                <c:ptCount val="4"/>
                <c:pt idx="0">
                  <c:v>623795</c:v>
                </c:pt>
                <c:pt idx="1">
                  <c:v>838144</c:v>
                </c:pt>
                <c:pt idx="2">
                  <c:v>1047949</c:v>
                </c:pt>
                <c:pt idx="3">
                  <c:v>120661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cylinder"/>
        <c:axId val="64231296"/>
        <c:axId val="64232832"/>
        <c:axId val="58366144"/>
      </c:bar3DChart>
      <c:catAx>
        <c:axId val="642312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pt-PT"/>
          </a:p>
        </c:txPr>
        <c:crossAx val="64232832"/>
        <c:crosses val="autoZero"/>
        <c:auto val="1"/>
        <c:lblAlgn val="ctr"/>
        <c:lblOffset val="100"/>
        <c:noMultiLvlLbl val="0"/>
      </c:catAx>
      <c:valAx>
        <c:axId val="64232832"/>
        <c:scaling>
          <c:orientation val="minMax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pt-PT"/>
                  <a:t>Nº  Ligações</a:t>
                </a:r>
              </a:p>
            </c:rich>
          </c:tx>
          <c:layout/>
          <c:overlay val="0"/>
        </c:title>
        <c:numFmt formatCode="#,##0" sourceLinked="1"/>
        <c:majorTickMark val="out"/>
        <c:minorTickMark val="none"/>
        <c:tickLblPos val="nextTo"/>
        <c:crossAx val="64231296"/>
        <c:crosses val="autoZero"/>
        <c:crossBetween val="between"/>
      </c:valAx>
      <c:serAx>
        <c:axId val="58366144"/>
        <c:scaling>
          <c:orientation val="minMax"/>
        </c:scaling>
        <c:delete val="1"/>
        <c:axPos val="b"/>
        <c:majorTickMark val="out"/>
        <c:minorTickMark val="none"/>
        <c:tickLblPos val="nextTo"/>
        <c:crossAx val="64232832"/>
        <c:crosses val="autoZero"/>
      </c:serAx>
    </c:plotArea>
    <c:legend>
      <c:legendPos val="r"/>
      <c:layout/>
      <c:overlay val="0"/>
    </c:legend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25</cdr:x>
      <cdr:y>0.05903</cdr:y>
    </cdr:from>
    <cdr:to>
      <cdr:x>0.10625</cdr:x>
      <cdr:y>0.14236</cdr:y>
    </cdr:to>
    <cdr:sp macro="" textlink="">
      <cdr:nvSpPr>
        <cdr:cNvPr id="2" name="CaixaDeTexto 1"/>
        <cdr:cNvSpPr txBox="1"/>
      </cdr:nvSpPr>
      <cdr:spPr>
        <a:xfrm xmlns:a="http://schemas.openxmlformats.org/drawingml/2006/main">
          <a:off x="114300" y="161926"/>
          <a:ext cx="371475" cy="22859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pPr algn="r"/>
          <a:r>
            <a:rPr lang="pt-PT" sz="1000" b="1"/>
            <a:t>MW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1875</cdr:x>
      <cdr:y>0.07292</cdr:y>
    </cdr:from>
    <cdr:to>
      <cdr:x>0.12708</cdr:x>
      <cdr:y>0.15625</cdr:y>
    </cdr:to>
    <cdr:sp macro="" textlink="">
      <cdr:nvSpPr>
        <cdr:cNvPr id="2" name="CaixaDeTexto 1"/>
        <cdr:cNvSpPr txBox="1"/>
      </cdr:nvSpPr>
      <cdr:spPr>
        <a:xfrm xmlns:a="http://schemas.openxmlformats.org/drawingml/2006/main">
          <a:off x="85725" y="200025"/>
          <a:ext cx="495300" cy="2286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/>
        <a:p xmlns:a="http://schemas.openxmlformats.org/drawingml/2006/main">
          <a:r>
            <a:rPr lang="pt-PT" sz="1000" b="1"/>
            <a:t>GWH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03542</cdr:x>
      <cdr:y>0.07639</cdr:y>
    </cdr:from>
    <cdr:to>
      <cdr:x>0.23542</cdr:x>
      <cdr:y>0.15972</cdr:y>
    </cdr:to>
    <cdr:sp macro="" textlink="">
      <cdr:nvSpPr>
        <cdr:cNvPr id="2" name="CaixaDeTexto 1"/>
        <cdr:cNvSpPr txBox="1"/>
      </cdr:nvSpPr>
      <cdr:spPr>
        <a:xfrm xmlns:a="http://schemas.openxmlformats.org/drawingml/2006/main">
          <a:off x="161925" y="209550"/>
          <a:ext cx="914400" cy="2286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pt-PT" sz="1100"/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01875</cdr:x>
      <cdr:y>0.07292</cdr:y>
    </cdr:from>
    <cdr:to>
      <cdr:x>0.11667</cdr:x>
      <cdr:y>0.17014</cdr:y>
    </cdr:to>
    <cdr:sp macro="" textlink="">
      <cdr:nvSpPr>
        <cdr:cNvPr id="2" name="CaixaDeTexto 1"/>
        <cdr:cNvSpPr txBox="1"/>
      </cdr:nvSpPr>
      <cdr:spPr>
        <a:xfrm xmlns:a="http://schemas.openxmlformats.org/drawingml/2006/main">
          <a:off x="85725" y="200025"/>
          <a:ext cx="447675" cy="2667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pt-PT" sz="1100" b="1"/>
            <a:t>MW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" y="6"/>
            <a:ext cx="2946400" cy="496887"/>
          </a:xfrm>
          <a:prstGeom prst="rect">
            <a:avLst/>
          </a:prstGeom>
        </p:spPr>
        <p:txBody>
          <a:bodyPr vert="horz" lIns="90816" tIns="45406" rIns="90816" bIns="45406" rtlCol="0"/>
          <a:lstStyle>
            <a:lvl1pPr algn="l">
              <a:defRPr sz="1200"/>
            </a:lvl1pPr>
          </a:lstStyle>
          <a:p>
            <a:endParaRPr lang="pt-P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6"/>
            <a:ext cx="2946400" cy="496887"/>
          </a:xfrm>
          <a:prstGeom prst="rect">
            <a:avLst/>
          </a:prstGeom>
        </p:spPr>
        <p:txBody>
          <a:bodyPr vert="horz" lIns="90816" tIns="45406" rIns="90816" bIns="45406" rtlCol="0"/>
          <a:lstStyle>
            <a:lvl1pPr algn="r">
              <a:defRPr sz="1200"/>
            </a:lvl1pPr>
          </a:lstStyle>
          <a:p>
            <a:fld id="{49EED914-7557-4F90-A96F-EB13EB40DC27}" type="datetimeFigureOut">
              <a:rPr lang="pt-PT" smtClean="0"/>
              <a:pPr/>
              <a:t>07-08-2015</a:t>
            </a:fld>
            <a:endParaRPr lang="pt-P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5" y="9429754"/>
            <a:ext cx="2946400" cy="496887"/>
          </a:xfrm>
          <a:prstGeom prst="rect">
            <a:avLst/>
          </a:prstGeom>
        </p:spPr>
        <p:txBody>
          <a:bodyPr vert="horz" lIns="90816" tIns="45406" rIns="90816" bIns="45406" rtlCol="0" anchor="b"/>
          <a:lstStyle>
            <a:lvl1pPr algn="l">
              <a:defRPr sz="1200"/>
            </a:lvl1pPr>
          </a:lstStyle>
          <a:p>
            <a:endParaRPr lang="pt-P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9754"/>
            <a:ext cx="2946400" cy="496887"/>
          </a:xfrm>
          <a:prstGeom prst="rect">
            <a:avLst/>
          </a:prstGeom>
        </p:spPr>
        <p:txBody>
          <a:bodyPr vert="horz" lIns="90816" tIns="45406" rIns="90816" bIns="45406" rtlCol="0" anchor="b"/>
          <a:lstStyle>
            <a:lvl1pPr algn="r">
              <a:defRPr sz="1200"/>
            </a:lvl1pPr>
          </a:lstStyle>
          <a:p>
            <a:fld id="{E1CDAEF5-4A92-4621-84C8-B0948779123D}" type="slidenum">
              <a:rPr lang="pt-PT" smtClean="0"/>
              <a:pPr/>
              <a:t>‹nº›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657042257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4" y="7"/>
            <a:ext cx="2945659" cy="496412"/>
          </a:xfrm>
          <a:prstGeom prst="rect">
            <a:avLst/>
          </a:prstGeom>
        </p:spPr>
        <p:txBody>
          <a:bodyPr vert="horz" lIns="90816" tIns="45406" rIns="90816" bIns="45406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t-PT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8" y="7"/>
            <a:ext cx="2945659" cy="496412"/>
          </a:xfrm>
          <a:prstGeom prst="rect">
            <a:avLst/>
          </a:prstGeom>
        </p:spPr>
        <p:txBody>
          <a:bodyPr vert="horz" lIns="90816" tIns="45406" rIns="90816" bIns="45406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28B2B313-5A9F-47C1-AA81-D9B74D275FA4}" type="datetimeFigureOut">
              <a:rPr lang="pt-PT" smtClean="0"/>
              <a:pPr>
                <a:defRPr/>
              </a:pPr>
              <a:t>07-08-2015</a:t>
            </a:fld>
            <a:endParaRPr lang="pt-PT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12788" y="747713"/>
            <a:ext cx="5372100" cy="37195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816" tIns="45406" rIns="90816" bIns="45406" rtlCol="0" anchor="ctr"/>
          <a:lstStyle/>
          <a:p>
            <a:pPr lvl="0"/>
            <a:endParaRPr lang="de-DE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14"/>
            <a:ext cx="5438140" cy="4467702"/>
          </a:xfrm>
          <a:prstGeom prst="rect">
            <a:avLst/>
          </a:prstGeom>
        </p:spPr>
        <p:txBody>
          <a:bodyPr vert="horz" lIns="90816" tIns="45406" rIns="90816" bIns="45406" rtlCol="0">
            <a:normAutofit/>
          </a:bodyPr>
          <a:lstStyle/>
          <a:p>
            <a:pPr lvl="0"/>
            <a:r>
              <a:rPr lang="pt-PT" noProof="0" dirty="0" err="1" smtClean="0"/>
              <a:t>Textmasterformate</a:t>
            </a:r>
            <a:r>
              <a:rPr lang="pt-PT" noProof="0" dirty="0" smtClean="0"/>
              <a:t> </a:t>
            </a:r>
            <a:r>
              <a:rPr lang="pt-PT" noProof="0" dirty="0" err="1" smtClean="0"/>
              <a:t>durch</a:t>
            </a:r>
            <a:r>
              <a:rPr lang="pt-PT" noProof="0" dirty="0" smtClean="0"/>
              <a:t> </a:t>
            </a:r>
            <a:r>
              <a:rPr lang="pt-PT" noProof="0" dirty="0" err="1" smtClean="0"/>
              <a:t>Klicken</a:t>
            </a:r>
            <a:r>
              <a:rPr lang="pt-PT" noProof="0" dirty="0" smtClean="0"/>
              <a:t> </a:t>
            </a:r>
            <a:r>
              <a:rPr lang="pt-PT" noProof="0" dirty="0" err="1" smtClean="0"/>
              <a:t>bearbeiten</a:t>
            </a:r>
            <a:endParaRPr lang="pt-PT" noProof="0" dirty="0" smtClean="0"/>
          </a:p>
          <a:p>
            <a:pPr lvl="1"/>
            <a:r>
              <a:rPr lang="pt-PT" noProof="0" dirty="0" err="1" smtClean="0"/>
              <a:t>Zweite</a:t>
            </a:r>
            <a:r>
              <a:rPr lang="pt-PT" noProof="0" dirty="0" smtClean="0"/>
              <a:t> </a:t>
            </a:r>
            <a:r>
              <a:rPr lang="pt-PT" noProof="0" dirty="0" err="1" smtClean="0"/>
              <a:t>Ebene</a:t>
            </a:r>
            <a:endParaRPr lang="pt-PT" noProof="0" dirty="0" smtClean="0"/>
          </a:p>
          <a:p>
            <a:pPr lvl="2"/>
            <a:r>
              <a:rPr lang="pt-PT" noProof="0" dirty="0" err="1" smtClean="0"/>
              <a:t>Dritte</a:t>
            </a:r>
            <a:r>
              <a:rPr lang="pt-PT" noProof="0" dirty="0" smtClean="0"/>
              <a:t> </a:t>
            </a:r>
            <a:r>
              <a:rPr lang="pt-PT" noProof="0" dirty="0" err="1" smtClean="0"/>
              <a:t>Ebene</a:t>
            </a:r>
            <a:endParaRPr lang="pt-PT" noProof="0" dirty="0" smtClean="0"/>
          </a:p>
          <a:p>
            <a:pPr lvl="3"/>
            <a:r>
              <a:rPr lang="pt-PT" noProof="0" dirty="0" err="1" smtClean="0"/>
              <a:t>Vierte</a:t>
            </a:r>
            <a:r>
              <a:rPr lang="pt-PT" noProof="0" dirty="0" smtClean="0"/>
              <a:t> </a:t>
            </a:r>
            <a:r>
              <a:rPr lang="pt-PT" noProof="0" dirty="0" err="1" smtClean="0"/>
              <a:t>Ebene</a:t>
            </a:r>
            <a:endParaRPr lang="pt-PT" noProof="0" dirty="0" smtClean="0"/>
          </a:p>
          <a:p>
            <a:pPr lvl="4"/>
            <a:r>
              <a:rPr lang="pt-PT" noProof="0" dirty="0" err="1" smtClean="0"/>
              <a:t>Fünfte</a:t>
            </a:r>
            <a:r>
              <a:rPr lang="pt-PT" noProof="0" dirty="0" smtClean="0"/>
              <a:t> </a:t>
            </a:r>
            <a:r>
              <a:rPr lang="pt-PT" noProof="0" dirty="0" err="1" smtClean="0"/>
              <a:t>Ebene</a:t>
            </a:r>
            <a:endParaRPr lang="pt-PT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4" y="9430097"/>
            <a:ext cx="2945659" cy="496412"/>
          </a:xfrm>
          <a:prstGeom prst="rect">
            <a:avLst/>
          </a:prstGeom>
        </p:spPr>
        <p:txBody>
          <a:bodyPr vert="horz" lIns="90816" tIns="45406" rIns="90816" bIns="45406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t-PT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8" y="9430097"/>
            <a:ext cx="2945659" cy="496412"/>
          </a:xfrm>
          <a:prstGeom prst="rect">
            <a:avLst/>
          </a:prstGeom>
        </p:spPr>
        <p:txBody>
          <a:bodyPr vert="horz" lIns="90816" tIns="45406" rIns="90816" bIns="45406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A44FAA9-51FA-4F6B-AC6F-9EF5239E7D33}" type="slidenum">
              <a:rPr lang="pt-PT" smtClean="0"/>
              <a:pPr>
                <a:defRPr/>
              </a:pPr>
              <a:t>‹nº›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21693966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4FD96B-3A99-4F03-BE37-FCE976B59A91}" type="slidenum">
              <a:rPr lang="pt-PT" smtClean="0"/>
              <a:pPr/>
              <a:t>1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31353733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PT" dirty="0"/>
          </a:p>
        </p:txBody>
      </p:sp>
      <p:sp>
        <p:nvSpPr>
          <p:cNvPr id="4" name="Marcador de Posição do Rodapé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pt-PT" dirty="0"/>
          </a:p>
        </p:txBody>
      </p:sp>
      <p:sp>
        <p:nvSpPr>
          <p:cNvPr id="5" name="Marcador de Posição do Número do Diapositivo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pt-PT" smtClean="0"/>
              <a:pPr>
                <a:defRPr/>
              </a:pPr>
              <a:t>4</a:t>
            </a:fld>
            <a:endParaRPr lang="pt-PT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PT" dirty="0"/>
          </a:p>
        </p:txBody>
      </p:sp>
      <p:sp>
        <p:nvSpPr>
          <p:cNvPr id="4" name="Marcador de Posição do Rodapé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pt-PT" dirty="0"/>
          </a:p>
        </p:txBody>
      </p:sp>
      <p:sp>
        <p:nvSpPr>
          <p:cNvPr id="5" name="Marcador de Posição do Número do Diapositivo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pt-PT" smtClean="0"/>
              <a:pPr>
                <a:defRPr/>
              </a:pPr>
              <a:t>5</a:t>
            </a:fld>
            <a:endParaRPr lang="pt-PT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Marcador de Posição do Rodapé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pt-PT" dirty="0"/>
          </a:p>
        </p:txBody>
      </p:sp>
      <p:sp>
        <p:nvSpPr>
          <p:cNvPr id="5" name="Marcador de Posição do Número do Diapositivo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pt-PT" smtClean="0"/>
              <a:pPr>
                <a:defRPr/>
              </a:pPr>
              <a:t>10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4542735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13" Type="http://schemas.openxmlformats.org/officeDocument/2006/relationships/image" Target="../media/image7.jpeg"/><Relationship Id="rId3" Type="http://schemas.openxmlformats.org/officeDocument/2006/relationships/tags" Target="../tags/tag5.xml"/><Relationship Id="rId7" Type="http://schemas.openxmlformats.org/officeDocument/2006/relationships/oleObject" Target="../embeddings/oleObject2.bin"/><Relationship Id="rId12" Type="http://schemas.openxmlformats.org/officeDocument/2006/relationships/image" Target="../media/image6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jpeg"/><Relationship Id="rId11" Type="http://schemas.openxmlformats.org/officeDocument/2006/relationships/image" Target="../media/image5.jpe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4.jpeg"/><Relationship Id="rId4" Type="http://schemas.openxmlformats.org/officeDocument/2006/relationships/tags" Target="../tags/tag6.xml"/><Relationship Id="rId9" Type="http://schemas.openxmlformats.org/officeDocument/2006/relationships/image" Target="../media/image3.jpe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157" name="Picture 605" descr="A central hidro-eléctrica de Cambambe, no Kwanza Norte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1051" y="0"/>
            <a:ext cx="9906000" cy="6858000"/>
          </a:xfrm>
          <a:prstGeom prst="rect">
            <a:avLst/>
          </a:prstGeom>
          <a:noFill/>
        </p:spPr>
      </p:pic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01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643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234" name="Picture 1970" descr="C:\Users\patricia.m.loureiro\AppData\Local\Microsoft\Windows\Temporary Internet Files\Content.Outlook\YYF1YN1Y\insignia_large.png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77259" y="145871"/>
            <a:ext cx="823701" cy="9302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CaixaDeTexto 8"/>
          <p:cNvSpPr txBox="1"/>
          <p:nvPr userDrawn="1"/>
        </p:nvSpPr>
        <p:spPr>
          <a:xfrm>
            <a:off x="171979" y="1076960"/>
            <a:ext cx="4148893" cy="600164"/>
          </a:xfrm>
          <a:prstGeom prst="rect">
            <a:avLst/>
          </a:prstGeom>
          <a:ln w="9525"/>
        </p:spPr>
        <p:txBody>
          <a:bodyPr wrap="none" lIns="91440" tIns="45720" rIns="91440" bIns="45720" rtlCol="0"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pt-PT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INISTÉRIO DA ENERGIA E ÁGUAS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pt-PT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IRECÇÃO NACIONAL DE ENERGIA ELÉCTRICA</a:t>
            </a:r>
          </a:p>
        </p:txBody>
      </p:sp>
      <p:sp>
        <p:nvSpPr>
          <p:cNvPr id="10" name="CaixaDeTexto 9"/>
          <p:cNvSpPr txBox="1"/>
          <p:nvPr userDrawn="1"/>
        </p:nvSpPr>
        <p:spPr>
          <a:xfrm>
            <a:off x="6304167" y="6248400"/>
            <a:ext cx="3274060" cy="369332"/>
          </a:xfrm>
          <a:prstGeom prst="rect">
            <a:avLst/>
          </a:prstGeom>
          <a:ln w="9525"/>
        </p:spPr>
        <p:txBody>
          <a:bodyPr wrap="square" lIns="91440" tIns="45720" rIns="91440" bIns="4572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pt-PT" sz="1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5º CONSELHO CONSULTIVO</a:t>
            </a:r>
          </a:p>
        </p:txBody>
      </p:sp>
      <p:sp>
        <p:nvSpPr>
          <p:cNvPr id="11" name="CaixaDeTexto 10"/>
          <p:cNvSpPr txBox="1"/>
          <p:nvPr userDrawn="1"/>
        </p:nvSpPr>
        <p:spPr>
          <a:xfrm>
            <a:off x="171979" y="6248400"/>
            <a:ext cx="3503890" cy="369332"/>
          </a:xfrm>
          <a:prstGeom prst="rect">
            <a:avLst/>
          </a:prstGeom>
          <a:ln w="9525"/>
        </p:spPr>
        <p:txBody>
          <a:bodyPr wrap="square" lIns="91440" tIns="45720" rIns="91440" bIns="4572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pt-PT" sz="1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uanda 31 de Julho de 2015</a:t>
            </a:r>
          </a:p>
        </p:txBody>
      </p:sp>
      <p:sp>
        <p:nvSpPr>
          <p:cNvPr id="14" name="CaixaDeTexto 13"/>
          <p:cNvSpPr txBox="1"/>
          <p:nvPr userDrawn="1"/>
        </p:nvSpPr>
        <p:spPr>
          <a:xfrm>
            <a:off x="698675" y="2307044"/>
            <a:ext cx="8676640" cy="707886"/>
          </a:xfrm>
          <a:prstGeom prst="rect">
            <a:avLst/>
          </a:prstGeom>
          <a:ln w="9525"/>
        </p:spPr>
        <p:txBody>
          <a:bodyPr wrap="square" lIns="91440" tIns="45720" rIns="91440" bIns="45720" rtlCol="0"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pt-PT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ALIZAÇÕES DO SECTOR DE ENERGIA NO ÂMBITO DO PLANO NACIONAL DE DESENVOLVIMENTO 2013 - 2017</a:t>
            </a:r>
          </a:p>
        </p:txBody>
      </p:sp>
      <p:grpSp>
        <p:nvGrpSpPr>
          <p:cNvPr id="15" name="Group 1"/>
          <p:cNvGrpSpPr/>
          <p:nvPr userDrawn="1"/>
        </p:nvGrpSpPr>
        <p:grpSpPr>
          <a:xfrm>
            <a:off x="1051" y="2905849"/>
            <a:ext cx="9907051" cy="1791653"/>
            <a:chOff x="0" y="2018347"/>
            <a:chExt cx="9906000" cy="1791653"/>
          </a:xfrm>
          <a:noFill/>
        </p:grpSpPr>
        <p:sp>
          <p:nvSpPr>
            <p:cNvPr id="16" name="Rectangle 3"/>
            <p:cNvSpPr>
              <a:spLocks noChangeArrowheads="1"/>
            </p:cNvSpPr>
            <p:nvPr userDrawn="1">
              <p:custDataLst>
                <p:tags r:id="rId3"/>
              </p:custDataLst>
            </p:nvPr>
          </p:nvSpPr>
          <p:spPr bwMode="gray">
            <a:xfrm>
              <a:off x="0" y="2018347"/>
              <a:ext cx="9906000" cy="179165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pt-PT" b="1" dirty="0">
                <a:solidFill>
                  <a:srgbClr val="000000"/>
                </a:solidFill>
              </a:endParaRPr>
            </a:p>
          </p:txBody>
        </p:sp>
        <p:pic>
          <p:nvPicPr>
            <p:cNvPr id="18" name="Picture 10" descr="solar_main1"/>
            <p:cNvPicPr>
              <a:picLocks noChangeArrowheads="1"/>
            </p:cNvPicPr>
            <p:nvPr userDrawn="1">
              <p:custDataLst>
                <p:tags r:id="rId4"/>
              </p:custDataLst>
            </p:nvPr>
          </p:nvPicPr>
          <p:blipFill>
            <a:blip r:embed="rId9" cstate="print"/>
            <a:srcRect/>
            <a:stretch>
              <a:fillRect/>
            </a:stretch>
          </p:blipFill>
          <p:spPr bwMode="gray">
            <a:xfrm>
              <a:off x="4135601" y="2311787"/>
              <a:ext cx="1795850" cy="1382712"/>
            </a:xfrm>
            <a:prstGeom prst="rect">
              <a:avLst/>
            </a:prstGeom>
            <a:grpFill/>
            <a:ln w="28575">
              <a:solidFill>
                <a:schemeClr val="bg1"/>
              </a:solidFill>
              <a:miter lim="800000"/>
              <a:headEnd/>
              <a:tailEnd/>
            </a:ln>
          </p:spPr>
        </p:pic>
      </p:grpSp>
      <p:pic>
        <p:nvPicPr>
          <p:cNvPr id="4" name="Picture 605" descr="http://oalvoradense.com.br/wp-content/uploads/2012/07/SubestacaoAlvorada_Foto-Fernando-Vieira_0039-1.jp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2102725" y="3189128"/>
            <a:ext cx="1922606" cy="1382712"/>
          </a:xfrm>
          <a:prstGeom prst="rect">
            <a:avLst/>
          </a:prstGeom>
          <a:noFill/>
          <a:ln w="25400">
            <a:solidFill>
              <a:schemeClr val="bg1"/>
            </a:solidFill>
          </a:ln>
        </p:spPr>
      </p:pic>
      <p:pic>
        <p:nvPicPr>
          <p:cNvPr id="24161" name="Picture 609" descr="http://www.midiline.com.br/midiline/wp-content/uploads/2013/01/6.jpg"/>
          <p:cNvPicPr>
            <a:picLocks noChangeAspect="1" noChangeArrowheads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6041277" y="3189129"/>
            <a:ext cx="1822563" cy="1393031"/>
          </a:xfrm>
          <a:prstGeom prst="rect">
            <a:avLst/>
          </a:prstGeom>
          <a:noFill/>
          <a:ln w="25400">
            <a:solidFill>
              <a:schemeClr val="bg1"/>
            </a:solidFill>
          </a:ln>
        </p:spPr>
      </p:pic>
      <p:pic>
        <p:nvPicPr>
          <p:cNvPr id="24163" name="Picture 611" descr="https://encrypted-tbn0.gstatic.com/images?q=tbn:ANd9GcSpYhrkZhOQr5ZHLeKRa2TjZ7j0h9CtLU5DDDTHXi7QjPqvNK1a4Q"/>
          <p:cNvPicPr>
            <a:picLocks noChangeAspect="1" noChangeArrowheads="1"/>
          </p:cNvPicPr>
          <p:nvPr userDrawn="1"/>
        </p:nvPicPr>
        <p:blipFill>
          <a:blip r:embed="rId12"/>
          <a:srcRect/>
          <a:stretch>
            <a:fillRect/>
          </a:stretch>
        </p:blipFill>
        <p:spPr bwMode="auto">
          <a:xfrm>
            <a:off x="7941197" y="3189128"/>
            <a:ext cx="1838701" cy="1355997"/>
          </a:xfrm>
          <a:prstGeom prst="rect">
            <a:avLst/>
          </a:prstGeom>
          <a:noFill/>
          <a:ln w="25400">
            <a:solidFill>
              <a:schemeClr val="bg1"/>
            </a:solidFill>
          </a:ln>
        </p:spPr>
      </p:pic>
      <p:pic>
        <p:nvPicPr>
          <p:cNvPr id="17" name="Imagem 16" descr="foto CT km09.JPG"/>
          <p:cNvPicPr>
            <a:picLocks noChangeAspect="1"/>
          </p:cNvPicPr>
          <p:nvPr userDrawn="1"/>
        </p:nvPicPr>
        <p:blipFill>
          <a:blip r:embed="rId13" cstate="print"/>
          <a:stretch>
            <a:fillRect/>
          </a:stretch>
        </p:blipFill>
        <p:spPr>
          <a:xfrm>
            <a:off x="105304" y="3194611"/>
            <a:ext cx="1902285" cy="1386754"/>
          </a:xfrm>
          <a:prstGeom prst="rect">
            <a:avLst/>
          </a:prstGeom>
          <a:ln w="28575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38990789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 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AutoShape 2" descr="http://www.blue-sol.com/energia-solar/wp-content/uploads/2014/06/2564.jpg"/>
          <p:cNvSpPr>
            <a:spLocks noChangeAspect="1" noChangeArrowheads="1"/>
          </p:cNvSpPr>
          <p:nvPr userDrawn="1"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PT"/>
          </a:p>
        </p:txBody>
      </p:sp>
      <p:pic>
        <p:nvPicPr>
          <p:cNvPr id="6" name="Picture 1970" descr="C:\Users\patricia.m.loureiro\AppData\Local\Microsoft\Windows\Temporary Internet Files\Content.Outlook\YYF1YN1Y\insignia_large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3384" y="63053"/>
            <a:ext cx="780696" cy="770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CaixaDeTexto 6"/>
          <p:cNvSpPr txBox="1"/>
          <p:nvPr userDrawn="1"/>
        </p:nvSpPr>
        <p:spPr>
          <a:xfrm>
            <a:off x="152400" y="792480"/>
            <a:ext cx="755335" cy="561692"/>
          </a:xfrm>
          <a:prstGeom prst="rect">
            <a:avLst/>
          </a:prstGeom>
          <a:ln w="9525"/>
        </p:spPr>
        <p:txBody>
          <a:bodyPr wrap="none" lIns="91440" tIns="45720" rIns="91440" bIns="45720" rtlCol="0"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PT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INEA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pt-PT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NEE</a:t>
            </a:r>
          </a:p>
        </p:txBody>
      </p:sp>
      <p:sp>
        <p:nvSpPr>
          <p:cNvPr id="8" name="CaixaDeTexto 7"/>
          <p:cNvSpPr txBox="1"/>
          <p:nvPr userDrawn="1"/>
        </p:nvSpPr>
        <p:spPr>
          <a:xfrm>
            <a:off x="152400" y="6553200"/>
            <a:ext cx="9438640" cy="276999"/>
          </a:xfrm>
          <a:prstGeom prst="rect">
            <a:avLst/>
          </a:prstGeom>
          <a:ln w="9525">
            <a:noFill/>
          </a:ln>
        </p:spPr>
        <p:txBody>
          <a:bodyPr wrap="square" lIns="91440" tIns="45720" rIns="91440" bIns="45720" rtlCol="0">
            <a:spAutoFit/>
          </a:bodyPr>
          <a:lstStyle/>
          <a:p>
            <a:pPr marL="0" marR="0" indent="0" algn="just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pt-PT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NEE                                                                                                                                                               5º CONSELHO CONSULTIVO</a:t>
            </a:r>
          </a:p>
        </p:txBody>
      </p:sp>
    </p:spTree>
    <p:extLst>
      <p:ext uri="{BB962C8B-B14F-4D97-AF65-F5344CB8AC3E}">
        <p14:creationId xmlns:p14="http://schemas.microsoft.com/office/powerpoint/2010/main" val="15332168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91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65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AC Banner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gray">
          <a:xfrm flipV="1">
            <a:off x="0" y="854942"/>
            <a:ext cx="9906000" cy="1905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pt-PT" sz="3200" dirty="0">
              <a:solidFill>
                <a:prstClr val="black"/>
              </a:solidFill>
              <a:latin typeface="Century Gothic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9004595" y="6643509"/>
            <a:ext cx="806155" cy="215444"/>
          </a:xfrm>
          <a:prstGeom prst="rect">
            <a:avLst/>
          </a:prstGeom>
        </p:spPr>
        <p:txBody>
          <a:bodyPr wrap="square" lIns="91440" tIns="45720" rIns="91440" bIns="45720" rtlCol="0">
            <a:spAutoFit/>
          </a:bodyPr>
          <a:lstStyle/>
          <a:p>
            <a:pPr algn="r">
              <a:spcBef>
                <a:spcPts val="300"/>
              </a:spcBef>
              <a:spcAft>
                <a:spcPts val="300"/>
              </a:spcAft>
            </a:pPr>
            <a:fld id="{44EB30DB-2BA5-4CE5-BA5F-48DDB85A1AF7}" type="slidenum">
              <a:rPr lang="pt-PT" sz="800" smtClean="0">
                <a:solidFill>
                  <a:sysClr val="windowText" lastClr="000000"/>
                </a:solidFill>
                <a:latin typeface="Century Gothic" pitchFamily="34" charset="0"/>
              </a:rPr>
              <a:pPr algn="r">
                <a:spcBef>
                  <a:spcPts val="300"/>
                </a:spcBef>
                <a:spcAft>
                  <a:spcPts val="300"/>
                </a:spcAft>
              </a:pPr>
              <a:t>‹nº›</a:t>
            </a:fld>
            <a:endParaRPr lang="pt-PT" sz="800" dirty="0" smtClean="0">
              <a:solidFill>
                <a:sysClr val="windowText" lastClr="000000"/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2765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 kern="1200">
          <a:solidFill>
            <a:srgbClr val="003344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9pPr>
    </p:titleStyle>
    <p:bodyStyle>
      <a:lvl1pPr marL="174625" indent="-174625" algn="l" rtl="0" eaLnBrk="1" fontAlgn="base" hangingPunct="1">
        <a:spcBef>
          <a:spcPts val="300"/>
        </a:spcBef>
        <a:spcAft>
          <a:spcPts val="30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3538" indent="-188913" algn="l" rtl="0" eaLnBrk="1" fontAlgn="base" hangingPunct="1">
        <a:spcBef>
          <a:spcPts val="300"/>
        </a:spcBef>
        <a:spcAft>
          <a:spcPts val="300"/>
        </a:spcAft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4625" algn="l" rtl="0" eaLnBrk="1" fontAlgn="base" hangingPunct="1">
        <a:spcBef>
          <a:spcPts val="300"/>
        </a:spcBef>
        <a:spcAft>
          <a:spcPts val="300"/>
        </a:spcAft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2788" indent="-174625" algn="l" rtl="0" eaLnBrk="1" fontAlgn="base" hangingPunct="1">
        <a:spcBef>
          <a:spcPts val="300"/>
        </a:spcBef>
        <a:spcAft>
          <a:spcPts val="300"/>
        </a:spcAft>
        <a:buFont typeface="Arial" charset="0"/>
        <a:buChar char="–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901700" indent="-188913" algn="l" rtl="0" eaLnBrk="1" fontAlgn="base" hangingPunct="1">
        <a:spcBef>
          <a:spcPts val="300"/>
        </a:spcBef>
        <a:spcAft>
          <a:spcPts val="300"/>
        </a:spcAft>
        <a:buFont typeface="Arial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98240810"/>
      </p:ext>
    </p:extLst>
  </p:cSld>
  <p:clrMapOvr>
    <a:masterClrMapping/>
  </p:clrMapOvr>
  <p:transition spd="slow">
    <p:wedg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e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0974420"/>
              </p:ext>
            </p:extLst>
          </p:nvPr>
        </p:nvGraphicFramePr>
        <p:xfrm>
          <a:off x="2655254" y="2147831"/>
          <a:ext cx="5235141" cy="1786594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506992"/>
                <a:gridCol w="1728149"/>
              </a:tblGrid>
              <a:tr h="490594">
                <a:tc>
                  <a:txBody>
                    <a:bodyPr/>
                    <a:lstStyle/>
                    <a:p>
                      <a:pPr algn="ctr"/>
                      <a:r>
                        <a:rPr lang="pt-PT" sz="1100" dirty="0" smtClean="0"/>
                        <a:t>Projecto</a:t>
                      </a:r>
                      <a:endParaRPr lang="pt-PT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100" dirty="0" smtClean="0"/>
                        <a:t>Ano previsto conclusão</a:t>
                      </a:r>
                      <a:endParaRPr lang="pt-PT" sz="1100" dirty="0"/>
                    </a:p>
                  </a:txBody>
                  <a:tcPr anchor="ctr"/>
                </a:tc>
              </a:tr>
              <a:tr h="324000">
                <a:tc>
                  <a:txBody>
                    <a:bodyPr/>
                    <a:lstStyle/>
                    <a:p>
                      <a:r>
                        <a:rPr lang="pt-PT" sz="1100" dirty="0" smtClean="0"/>
                        <a:t>A.H. Jamba </a:t>
                      </a:r>
                      <a:r>
                        <a:rPr lang="pt-PT" sz="1100" dirty="0" err="1" smtClean="0"/>
                        <a:t>Ya_Mina</a:t>
                      </a:r>
                      <a:r>
                        <a:rPr lang="pt-PT" sz="1100" baseline="0" dirty="0" smtClean="0"/>
                        <a:t> (227MW)</a:t>
                      </a:r>
                      <a:endParaRPr lang="pt-PT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100" b="1" dirty="0" smtClean="0"/>
                        <a:t>-</a:t>
                      </a:r>
                      <a:endParaRPr lang="pt-PT" sz="1100" b="1" dirty="0"/>
                    </a:p>
                  </a:txBody>
                  <a:tcPr anchor="ctr"/>
                </a:tc>
              </a:tr>
              <a:tr h="324000">
                <a:tc>
                  <a:txBody>
                    <a:bodyPr/>
                    <a:lstStyle/>
                    <a:p>
                      <a:r>
                        <a:rPr lang="pt-PT" sz="1100" dirty="0" smtClean="0"/>
                        <a:t>A.H. Jamba </a:t>
                      </a:r>
                      <a:r>
                        <a:rPr lang="pt-PT" sz="1100" dirty="0" err="1" smtClean="0"/>
                        <a:t>Ya_Oma</a:t>
                      </a:r>
                      <a:r>
                        <a:rPr lang="pt-PT" sz="1100" dirty="0" smtClean="0"/>
                        <a:t> </a:t>
                      </a:r>
                      <a:r>
                        <a:rPr lang="pt-PT" sz="1100" baseline="0" dirty="0" smtClean="0"/>
                        <a:t>(78MW</a:t>
                      </a:r>
                      <a:r>
                        <a:rPr lang="pt-PT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pt-PT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100" b="1" dirty="0" smtClean="0"/>
                        <a:t>-</a:t>
                      </a:r>
                      <a:endParaRPr lang="pt-PT" sz="1100" b="1" dirty="0"/>
                    </a:p>
                  </a:txBody>
                  <a:tcPr anchor="ctr"/>
                </a:tc>
              </a:tr>
              <a:tr h="324000">
                <a:tc>
                  <a:txBody>
                    <a:bodyPr/>
                    <a:lstStyle/>
                    <a:p>
                      <a:r>
                        <a:rPr lang="pt-PT" sz="1100" dirty="0" smtClean="0"/>
                        <a:t>A.H. </a:t>
                      </a:r>
                      <a:r>
                        <a:rPr lang="pt-PT" sz="1100" dirty="0" err="1" smtClean="0"/>
                        <a:t>Caculo</a:t>
                      </a:r>
                      <a:r>
                        <a:rPr lang="pt-PT" sz="1100" dirty="0" smtClean="0"/>
                        <a:t> Cabaça (2.120MW</a:t>
                      </a:r>
                      <a:r>
                        <a:rPr lang="pt-PT" sz="1100" baseline="0" dirty="0" smtClean="0"/>
                        <a:t> + 52</a:t>
                      </a:r>
                      <a:r>
                        <a:rPr lang="pt-PT" sz="1100" dirty="0" smtClean="0"/>
                        <a:t>MW)</a:t>
                      </a:r>
                      <a:endParaRPr lang="pt-PT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100" b="1" dirty="0" smtClean="0"/>
                        <a:t>2022</a:t>
                      </a:r>
                      <a:endParaRPr lang="pt-PT" sz="1100" b="1" dirty="0"/>
                    </a:p>
                  </a:txBody>
                  <a:tcPr anchor="ctr"/>
                </a:tc>
              </a:tr>
              <a:tr h="324000">
                <a:tc>
                  <a:txBody>
                    <a:bodyPr/>
                    <a:lstStyle/>
                    <a:p>
                      <a:r>
                        <a:rPr lang="pt-PT" sz="1100" dirty="0" smtClean="0"/>
                        <a:t>A.H. </a:t>
                      </a:r>
                      <a:r>
                        <a:rPr lang="pt-PT" sz="1100" dirty="0" err="1" smtClean="0"/>
                        <a:t>Baynes</a:t>
                      </a:r>
                      <a:r>
                        <a:rPr lang="pt-PT" sz="1100" dirty="0" smtClean="0"/>
                        <a:t> (300MW</a:t>
                      </a:r>
                      <a:r>
                        <a:rPr lang="pt-PT" sz="1100" baseline="0" dirty="0" smtClean="0"/>
                        <a:t> + 300MW)</a:t>
                      </a:r>
                      <a:endParaRPr lang="pt-PT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100" b="1" dirty="0" smtClean="0"/>
                        <a:t>-</a:t>
                      </a:r>
                      <a:endParaRPr lang="pt-PT" sz="1100" b="1" dirty="0"/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3" name="CaixaDeTexto 2"/>
          <p:cNvSpPr txBox="1"/>
          <p:nvPr/>
        </p:nvSpPr>
        <p:spPr>
          <a:xfrm>
            <a:off x="3030534" y="345141"/>
            <a:ext cx="2002471" cy="338554"/>
          </a:xfrm>
          <a:prstGeom prst="rect">
            <a:avLst/>
          </a:prstGeom>
          <a:ln w="9525"/>
        </p:spPr>
        <p:txBody>
          <a:bodyPr wrap="none" lIns="91440" tIns="45720" rIns="91440" bIns="4572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lang="pt-PT" sz="1600" b="1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cs typeface="+mn-cs"/>
              </a:rPr>
              <a:t>Projectos Previstos</a:t>
            </a:r>
            <a:endParaRPr kumimoji="0" lang="pt-PT" sz="1600" b="1" i="0" u="none" strike="noStrike" kern="1200" cap="none" spc="0" normalizeH="0" baseline="0" noProof="0" dirty="0" smtClean="0">
              <a:ln>
                <a:noFill/>
              </a:ln>
              <a:solidFill>
                <a:schemeClr val="accent6">
                  <a:lumMod val="60000"/>
                  <a:lumOff val="4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Rectângulo arredondado 5"/>
          <p:cNvSpPr/>
          <p:nvPr/>
        </p:nvSpPr>
        <p:spPr bwMode="gray">
          <a:xfrm>
            <a:off x="1505300" y="2147831"/>
            <a:ext cx="1047400" cy="178659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88900" indent="-88900" algn="just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</a:pPr>
            <a:endParaRPr lang="pt-PT" sz="1000" kern="0" dirty="0" smtClean="0">
              <a:solidFill>
                <a:sysClr val="windowText" lastClr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7" name="CaixaDeTexto 6"/>
          <p:cNvSpPr txBox="1"/>
          <p:nvPr/>
        </p:nvSpPr>
        <p:spPr>
          <a:xfrm>
            <a:off x="1600550" y="2883508"/>
            <a:ext cx="821059" cy="276999"/>
          </a:xfrm>
          <a:prstGeom prst="rect">
            <a:avLst/>
          </a:prstGeom>
          <a:ln w="9525"/>
        </p:spPr>
        <p:txBody>
          <a:bodyPr wrap="square" lIns="91440" tIns="45720" rIns="91440" bIns="4572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lang="pt-PT" sz="1200" b="1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cs typeface="+mn-cs"/>
              </a:rPr>
              <a:t>Previstos</a:t>
            </a:r>
            <a:endParaRPr kumimoji="0" lang="pt-PT" sz="1200" b="1" i="0" u="none" strike="noStrike" kern="1200" cap="none" spc="0" normalizeH="0" baseline="0" noProof="0" dirty="0" smtClean="0">
              <a:ln>
                <a:noFill/>
              </a:ln>
              <a:solidFill>
                <a:schemeClr val="accent6">
                  <a:lumMod val="60000"/>
                  <a:lumOff val="4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Rounded Rectangle 19"/>
          <p:cNvSpPr/>
          <p:nvPr/>
        </p:nvSpPr>
        <p:spPr>
          <a:xfrm>
            <a:off x="6500841" y="170073"/>
            <a:ext cx="3308174" cy="484922"/>
          </a:xfrm>
          <a:prstGeom prst="roundRect">
            <a:avLst/>
          </a:prstGeom>
          <a:solidFill>
            <a:schemeClr val="bg1">
              <a:lumMod val="85000"/>
              <a:alpha val="67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Ins="36000" rtlCol="0" anchor="ctr"/>
          <a:lstStyle/>
          <a:p>
            <a:r>
              <a:rPr lang="pt-PT" sz="1600" b="1" dirty="0" smtClean="0">
                <a:solidFill>
                  <a:schemeClr val="tx1"/>
                </a:solidFill>
              </a:rPr>
              <a:t>Produção de Energia Eléctrica</a:t>
            </a:r>
            <a:endParaRPr lang="pt-PT" sz="16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0362274"/>
      </p:ext>
    </p:extLst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4" name="Picture 2" descr="http://www.blue-sol.com/energia-solar/wp-content/uploads/2014/06/2564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239" y="2806"/>
            <a:ext cx="9901761" cy="6855193"/>
          </a:xfrm>
          <a:prstGeom prst="rect">
            <a:avLst/>
          </a:prstGeom>
          <a:noFill/>
        </p:spPr>
      </p:pic>
      <p:pic>
        <p:nvPicPr>
          <p:cNvPr id="5" name="Picture 1970" descr="C:\Users\patricia.m.loureiro\AppData\Local\Microsoft\Windows\Temporary Internet Files\Content.Outlook\YYF1YN1Y\insignia_large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3384" y="63053"/>
            <a:ext cx="780696" cy="770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>
          <a:xfrm>
            <a:off x="2104638" y="1011194"/>
            <a:ext cx="6019800" cy="1745670"/>
            <a:chOff x="3581400" y="2438400"/>
            <a:chExt cx="6019800" cy="2420476"/>
          </a:xfrm>
          <a:solidFill>
            <a:schemeClr val="bg1">
              <a:lumMod val="85000"/>
              <a:alpha val="67000"/>
            </a:schemeClr>
          </a:solidFill>
        </p:grpSpPr>
        <p:sp>
          <p:nvSpPr>
            <p:cNvPr id="7" name="Rounded Rectangle 11"/>
            <p:cNvSpPr/>
            <p:nvPr/>
          </p:nvSpPr>
          <p:spPr>
            <a:xfrm>
              <a:off x="3581400" y="2438400"/>
              <a:ext cx="625379" cy="677747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1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8" name="Rounded Rectangle 12"/>
            <p:cNvSpPr/>
            <p:nvPr/>
          </p:nvSpPr>
          <p:spPr>
            <a:xfrm>
              <a:off x="4379383" y="2438400"/>
              <a:ext cx="5221817" cy="677747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Introdução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9" name="Rounded Rectangle 18"/>
            <p:cNvSpPr/>
            <p:nvPr/>
          </p:nvSpPr>
          <p:spPr>
            <a:xfrm>
              <a:off x="3581400" y="3293621"/>
              <a:ext cx="625379" cy="672374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2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0" name="Rounded Rectangle 19"/>
            <p:cNvSpPr/>
            <p:nvPr/>
          </p:nvSpPr>
          <p:spPr>
            <a:xfrm>
              <a:off x="4379383" y="3293621"/>
              <a:ext cx="5221817" cy="672374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Produção de Energia Eléctrica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1" name="Rounded Rectangle 8"/>
            <p:cNvSpPr/>
            <p:nvPr/>
          </p:nvSpPr>
          <p:spPr>
            <a:xfrm>
              <a:off x="3581400" y="4202967"/>
              <a:ext cx="625379" cy="655909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bg1"/>
                  </a:solidFill>
                </a:rPr>
                <a:t>3</a:t>
              </a:r>
              <a:endParaRPr lang="pt-PT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2" name="Rounded Rectangle 9"/>
            <p:cNvSpPr/>
            <p:nvPr/>
          </p:nvSpPr>
          <p:spPr>
            <a:xfrm>
              <a:off x="4379383" y="4159935"/>
              <a:ext cx="5221817" cy="655909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bg1"/>
                  </a:solidFill>
                </a:rPr>
                <a:t>Transporte de Energia Eléctrica</a:t>
              </a:r>
              <a:endParaRPr lang="pt-PT" sz="16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" name="Group 24"/>
          <p:cNvGrpSpPr/>
          <p:nvPr/>
        </p:nvGrpSpPr>
        <p:grpSpPr>
          <a:xfrm>
            <a:off x="2104638" y="2873831"/>
            <a:ext cx="6019800" cy="471989"/>
            <a:chOff x="3600000" y="5715000"/>
            <a:chExt cx="6019800" cy="654441"/>
          </a:xfrm>
          <a:solidFill>
            <a:schemeClr val="bg1">
              <a:lumMod val="85000"/>
              <a:alpha val="67000"/>
            </a:schemeClr>
          </a:solidFill>
        </p:grpSpPr>
        <p:sp>
          <p:nvSpPr>
            <p:cNvPr id="14" name="Rounded Rectangle 25"/>
            <p:cNvSpPr/>
            <p:nvPr/>
          </p:nvSpPr>
          <p:spPr>
            <a:xfrm>
              <a:off x="3600000" y="5715000"/>
              <a:ext cx="625379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4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5" name="Rounded Rectangle 26"/>
            <p:cNvSpPr/>
            <p:nvPr/>
          </p:nvSpPr>
          <p:spPr>
            <a:xfrm>
              <a:off x="4397983" y="5715000"/>
              <a:ext cx="5221817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Distribuição de Energia Eléctrica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16" name="TextBox 1"/>
          <p:cNvSpPr txBox="1"/>
          <p:nvPr/>
        </p:nvSpPr>
        <p:spPr>
          <a:xfrm>
            <a:off x="1887258" y="424339"/>
            <a:ext cx="1664002" cy="425758"/>
          </a:xfrm>
          <a:prstGeom prst="rect">
            <a:avLst/>
          </a:prstGeom>
        </p:spPr>
        <p:txBody>
          <a:bodyPr wrap="square" lIns="0" anchor="b">
            <a:spAutoFit/>
          </a:bodyPr>
          <a:lstStyle>
            <a:lvl1pPr eaLnBrk="1" hangingPunct="1">
              <a:lnSpc>
                <a:spcPts val="2600"/>
              </a:lnSpc>
              <a:buFont typeface="Arial" charset="0"/>
              <a:defRPr sz="2000" b="1" spc="0" baseline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1pPr>
            <a:lvl2pPr eaLnBrk="1" hangingPunct="1">
              <a:lnSpc>
                <a:spcPts val="2600"/>
              </a:lnSpc>
              <a:buFont typeface="Arial" charset="0"/>
              <a:defRPr sz="2400"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eaLnBrk="1" hangingPunct="1">
              <a:lnSpc>
                <a:spcPts val="2600"/>
              </a:lnSpc>
              <a:buFont typeface="Arial" charset="0"/>
              <a:defRPr sz="2400"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eaLnBrk="1" hangingPunct="1">
              <a:lnSpc>
                <a:spcPts val="2600"/>
              </a:lnSpc>
              <a:buFont typeface="Arial" charset="0"/>
              <a:defRPr sz="2400"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eaLnBrk="1" hangingPunct="1">
              <a:lnSpc>
                <a:spcPts val="2600"/>
              </a:lnSpc>
              <a:buFont typeface="Arial" charset="0"/>
              <a:defRPr sz="2400"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pPr lvl="0" algn="ctr"/>
            <a:r>
              <a:rPr lang="en-US" sz="2400" baseline="0" dirty="0" smtClean="0">
                <a:solidFill>
                  <a:srgbClr val="FFCC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genda</a:t>
            </a:r>
            <a:endParaRPr lang="en-US" sz="2400" baseline="0" dirty="0">
              <a:solidFill>
                <a:srgbClr val="FFCC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4" name="Group 24"/>
          <p:cNvGrpSpPr/>
          <p:nvPr/>
        </p:nvGrpSpPr>
        <p:grpSpPr>
          <a:xfrm>
            <a:off x="2117184" y="4112151"/>
            <a:ext cx="6019800" cy="471989"/>
            <a:chOff x="3600000" y="5715000"/>
            <a:chExt cx="6019800" cy="654441"/>
          </a:xfrm>
          <a:solidFill>
            <a:schemeClr val="bg1">
              <a:lumMod val="85000"/>
              <a:alpha val="67000"/>
            </a:schemeClr>
          </a:solidFill>
        </p:grpSpPr>
        <p:sp>
          <p:nvSpPr>
            <p:cNvPr id="18" name="Rounded Rectangle 25"/>
            <p:cNvSpPr/>
            <p:nvPr/>
          </p:nvSpPr>
          <p:spPr>
            <a:xfrm>
              <a:off x="3600000" y="5715000"/>
              <a:ext cx="625379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6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9" name="Rounded Rectangle 26"/>
            <p:cNvSpPr/>
            <p:nvPr/>
          </p:nvSpPr>
          <p:spPr>
            <a:xfrm>
              <a:off x="4397983" y="5715000"/>
              <a:ext cx="5221817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Energias Renováveis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6" name="Group 24"/>
          <p:cNvGrpSpPr/>
          <p:nvPr/>
        </p:nvGrpSpPr>
        <p:grpSpPr>
          <a:xfrm>
            <a:off x="2138700" y="4734586"/>
            <a:ext cx="6019800" cy="471989"/>
            <a:chOff x="3600000" y="5715000"/>
            <a:chExt cx="6019800" cy="654441"/>
          </a:xfrm>
          <a:solidFill>
            <a:schemeClr val="bg1">
              <a:lumMod val="85000"/>
              <a:alpha val="67000"/>
            </a:schemeClr>
          </a:solidFill>
        </p:grpSpPr>
        <p:sp>
          <p:nvSpPr>
            <p:cNvPr id="21" name="Rounded Rectangle 25"/>
            <p:cNvSpPr/>
            <p:nvPr/>
          </p:nvSpPr>
          <p:spPr>
            <a:xfrm>
              <a:off x="3600000" y="5715000"/>
              <a:ext cx="625379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7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22" name="Rounded Rectangle 26"/>
            <p:cNvSpPr/>
            <p:nvPr/>
          </p:nvSpPr>
          <p:spPr>
            <a:xfrm>
              <a:off x="4397983" y="5715000"/>
              <a:ext cx="5221817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Electrificação Rural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3" name="Group 24"/>
          <p:cNvGrpSpPr/>
          <p:nvPr/>
        </p:nvGrpSpPr>
        <p:grpSpPr>
          <a:xfrm>
            <a:off x="2151246" y="5335059"/>
            <a:ext cx="6019800" cy="471989"/>
            <a:chOff x="3600000" y="5715000"/>
            <a:chExt cx="6019800" cy="654441"/>
          </a:xfrm>
          <a:solidFill>
            <a:schemeClr val="bg1">
              <a:lumMod val="85000"/>
              <a:alpha val="67000"/>
            </a:schemeClr>
          </a:solidFill>
        </p:grpSpPr>
        <p:sp>
          <p:nvSpPr>
            <p:cNvPr id="24" name="Rounded Rectangle 25"/>
            <p:cNvSpPr/>
            <p:nvPr/>
          </p:nvSpPr>
          <p:spPr>
            <a:xfrm>
              <a:off x="3600000" y="5715000"/>
              <a:ext cx="625379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8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25" name="Rounded Rectangle 26"/>
            <p:cNvSpPr/>
            <p:nvPr/>
          </p:nvSpPr>
          <p:spPr>
            <a:xfrm>
              <a:off x="4397983" y="5715000"/>
              <a:ext cx="5221817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Licenciamento e Fiscalização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7" name="Group 24"/>
          <p:cNvGrpSpPr/>
          <p:nvPr/>
        </p:nvGrpSpPr>
        <p:grpSpPr>
          <a:xfrm>
            <a:off x="2102663" y="3489356"/>
            <a:ext cx="6019800" cy="471989"/>
            <a:chOff x="3600000" y="5715000"/>
            <a:chExt cx="6019800" cy="654441"/>
          </a:xfrm>
          <a:solidFill>
            <a:schemeClr val="bg1">
              <a:lumMod val="85000"/>
              <a:alpha val="67000"/>
            </a:schemeClr>
          </a:solidFill>
        </p:grpSpPr>
        <p:sp>
          <p:nvSpPr>
            <p:cNvPr id="27" name="Rounded Rectangle 25"/>
            <p:cNvSpPr/>
            <p:nvPr/>
          </p:nvSpPr>
          <p:spPr>
            <a:xfrm>
              <a:off x="3600000" y="5715000"/>
              <a:ext cx="625379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5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28" name="Rounded Rectangle 26"/>
            <p:cNvSpPr/>
            <p:nvPr/>
          </p:nvSpPr>
          <p:spPr>
            <a:xfrm>
              <a:off x="4397983" y="5715000"/>
              <a:ext cx="5221817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Projectos Estruturantes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/>
          <p:cNvSpPr txBox="1"/>
          <p:nvPr/>
        </p:nvSpPr>
        <p:spPr>
          <a:xfrm>
            <a:off x="2066716" y="268941"/>
            <a:ext cx="3889206" cy="338554"/>
          </a:xfrm>
          <a:prstGeom prst="rect">
            <a:avLst/>
          </a:prstGeom>
          <a:ln w="9525"/>
        </p:spPr>
        <p:txBody>
          <a:bodyPr wrap="none" lIns="91440" tIns="45720" rIns="91440" bIns="4572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lang="pt-PT" sz="1600" b="1" dirty="0" err="1" smtClean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cs typeface="+mn-cs"/>
              </a:rPr>
              <a:t>Infraestruturas</a:t>
            </a:r>
            <a:r>
              <a:rPr lang="pt-PT" sz="1600" b="1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cs typeface="+mn-cs"/>
              </a:rPr>
              <a:t> da Rede de Transporte</a:t>
            </a:r>
            <a:endParaRPr kumimoji="0" lang="pt-PT" sz="1600" b="1" i="0" u="none" strike="noStrike" kern="1200" cap="none" spc="0" normalizeH="0" baseline="0" noProof="0" dirty="0" smtClean="0">
              <a:ln>
                <a:noFill/>
              </a:ln>
              <a:solidFill>
                <a:schemeClr val="accent6">
                  <a:lumMod val="60000"/>
                  <a:lumOff val="4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aphicFrame>
        <p:nvGraphicFramePr>
          <p:cNvPr id="4" name="Tabe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9130732"/>
              </p:ext>
            </p:extLst>
          </p:nvPr>
        </p:nvGraphicFramePr>
        <p:xfrm>
          <a:off x="1034652" y="961901"/>
          <a:ext cx="3908823" cy="2657682"/>
        </p:xfrm>
        <a:graphic>
          <a:graphicData uri="http://schemas.openxmlformats.org/drawingml/2006/table">
            <a:tbl>
              <a:tblPr firstRow="1" firstCol="1" bandRow="1">
                <a:tableStyleId>{5DA37D80-6434-44D0-A028-1B22A696006F}</a:tableStyleId>
              </a:tblPr>
              <a:tblGrid>
                <a:gridCol w="1356123"/>
                <a:gridCol w="666750"/>
                <a:gridCol w="600075"/>
                <a:gridCol w="581025"/>
                <a:gridCol w="704850"/>
              </a:tblGrid>
              <a:tr h="432000">
                <a:tc gridSpan="5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PT" sz="1100" b="1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Evolução das </a:t>
                      </a:r>
                      <a:r>
                        <a:rPr lang="pt-PT" sz="1100" b="1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Infraestruturas</a:t>
                      </a:r>
                      <a:r>
                        <a:rPr lang="pt-PT" sz="1100" b="1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 Transporte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PT" sz="1100" b="1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(km)</a:t>
                      </a:r>
                      <a:endParaRPr lang="pt-PT" sz="11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pt-PT" sz="11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pt-PT" sz="11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pt-PT" sz="11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pt-PT" sz="11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</a:tr>
              <a:tr h="36000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PT" sz="1100" dirty="0">
                          <a:solidFill>
                            <a:schemeClr val="bg1"/>
                          </a:solidFill>
                          <a:effectLst/>
                        </a:rPr>
                        <a:t>Tipo</a:t>
                      </a:r>
                      <a:endParaRPr lang="pt-PT" sz="11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PT" sz="1100" dirty="0">
                          <a:solidFill>
                            <a:schemeClr val="bg1"/>
                          </a:solidFill>
                          <a:effectLst/>
                        </a:rPr>
                        <a:t>2012</a:t>
                      </a:r>
                      <a:endParaRPr lang="pt-PT" sz="11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PT" sz="1100" dirty="0">
                          <a:solidFill>
                            <a:schemeClr val="bg1"/>
                          </a:solidFill>
                          <a:effectLst/>
                        </a:rPr>
                        <a:t>2013</a:t>
                      </a:r>
                      <a:endParaRPr lang="pt-PT" sz="11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PT" sz="1100" dirty="0">
                          <a:solidFill>
                            <a:schemeClr val="bg1"/>
                          </a:solidFill>
                          <a:effectLst/>
                        </a:rPr>
                        <a:t>2014</a:t>
                      </a:r>
                      <a:endParaRPr lang="pt-PT" sz="11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PT" sz="11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2015 (1ºSem.)</a:t>
                      </a:r>
                      <a:endParaRPr lang="pt-PT" sz="11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indent="102235">
                        <a:spcAft>
                          <a:spcPts val="0"/>
                        </a:spcAft>
                      </a:pPr>
                      <a:r>
                        <a:rPr lang="pt-PT" sz="1000" dirty="0">
                          <a:effectLst/>
                        </a:rPr>
                        <a:t>Linhas de 400 </a:t>
                      </a:r>
                      <a:r>
                        <a:rPr lang="pt-PT" sz="1000" dirty="0" smtClean="0">
                          <a:effectLst/>
                        </a:rPr>
                        <a:t>kV</a:t>
                      </a:r>
                      <a:endParaRPr lang="pt-PT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indent="101600" algn="r">
                        <a:spcAft>
                          <a:spcPts val="0"/>
                        </a:spcAft>
                      </a:pPr>
                      <a:r>
                        <a:rPr lang="pt-PT" sz="10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281</a:t>
                      </a:r>
                      <a:endParaRPr lang="pt-PT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indent="101600" algn="r">
                        <a:spcAft>
                          <a:spcPts val="0"/>
                        </a:spcAft>
                      </a:pPr>
                      <a:r>
                        <a:rPr lang="pt-PT" sz="10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281</a:t>
                      </a:r>
                      <a:endParaRPr lang="pt-PT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indent="101600" algn="r">
                        <a:spcAft>
                          <a:spcPts val="0"/>
                        </a:spcAft>
                      </a:pPr>
                      <a:r>
                        <a:rPr lang="pt-PT" sz="10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281</a:t>
                      </a:r>
                      <a:endParaRPr lang="pt-PT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indent="101600" algn="r">
                        <a:spcAft>
                          <a:spcPts val="0"/>
                        </a:spcAft>
                      </a:pPr>
                      <a:r>
                        <a:rPr lang="pt-PT" sz="10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281</a:t>
                      </a:r>
                      <a:endParaRPr lang="pt-PT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</a:tr>
              <a:tr h="252000">
                <a:tc>
                  <a:txBody>
                    <a:bodyPr/>
                    <a:lstStyle/>
                    <a:p>
                      <a:pPr indent="102235">
                        <a:spcAft>
                          <a:spcPts val="0"/>
                        </a:spcAft>
                      </a:pPr>
                      <a:r>
                        <a:rPr lang="pt-PT" sz="1000" dirty="0" smtClean="0">
                          <a:effectLst/>
                        </a:rPr>
                        <a:t>Linhas </a:t>
                      </a:r>
                      <a:r>
                        <a:rPr lang="pt-PT" sz="1000" dirty="0">
                          <a:effectLst/>
                        </a:rPr>
                        <a:t>de 220 </a:t>
                      </a:r>
                      <a:r>
                        <a:rPr lang="pt-PT" sz="1000" dirty="0" smtClean="0">
                          <a:effectLst/>
                        </a:rPr>
                        <a:t>kV</a:t>
                      </a:r>
                      <a:endParaRPr lang="pt-PT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indent="101600" algn="r">
                        <a:spcAft>
                          <a:spcPts val="0"/>
                        </a:spcAft>
                      </a:pPr>
                      <a:r>
                        <a:rPr lang="pt-PT" sz="1000" dirty="0" smtClean="0">
                          <a:effectLst/>
                        </a:rPr>
                        <a:t>1.722</a:t>
                      </a:r>
                      <a:endParaRPr lang="pt-PT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indent="101600" algn="r">
                        <a:spcAft>
                          <a:spcPts val="0"/>
                        </a:spcAft>
                      </a:pPr>
                      <a:r>
                        <a:rPr lang="pt-PT" sz="1000" dirty="0" smtClean="0">
                          <a:effectLst/>
                        </a:rPr>
                        <a:t>1.722</a:t>
                      </a:r>
                      <a:endParaRPr lang="pt-PT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indent="101600" algn="r">
                        <a:spcAft>
                          <a:spcPts val="0"/>
                        </a:spcAft>
                      </a:pPr>
                      <a:r>
                        <a:rPr lang="pt-PT" sz="1000" dirty="0" smtClean="0">
                          <a:effectLst/>
                        </a:rPr>
                        <a:t>1.722</a:t>
                      </a:r>
                      <a:endParaRPr lang="pt-PT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indent="101600" algn="r">
                        <a:spcAft>
                          <a:spcPts val="0"/>
                        </a:spcAft>
                      </a:pPr>
                      <a:r>
                        <a:rPr lang="pt-PT" sz="10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1.899</a:t>
                      </a:r>
                      <a:endParaRPr lang="pt-PT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</a:tr>
              <a:tr h="252000">
                <a:tc>
                  <a:txBody>
                    <a:bodyPr/>
                    <a:lstStyle/>
                    <a:p>
                      <a:pPr indent="102235">
                        <a:spcAft>
                          <a:spcPts val="0"/>
                        </a:spcAft>
                      </a:pPr>
                      <a:r>
                        <a:rPr lang="pt-PT" sz="1000" dirty="0">
                          <a:effectLst/>
                        </a:rPr>
                        <a:t>Linhas de150 </a:t>
                      </a:r>
                      <a:r>
                        <a:rPr lang="pt-PT" sz="1000" dirty="0" smtClean="0">
                          <a:effectLst/>
                        </a:rPr>
                        <a:t>kV</a:t>
                      </a:r>
                      <a:endParaRPr lang="pt-PT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</a:rPr>
                        <a:t>188</a:t>
                      </a:r>
                      <a:endParaRPr lang="pt-PT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</a:rPr>
                        <a:t>188</a:t>
                      </a:r>
                      <a:endParaRPr lang="pt-PT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indent="101600" algn="r">
                        <a:spcAft>
                          <a:spcPts val="0"/>
                        </a:spcAft>
                      </a:pPr>
                      <a:r>
                        <a:rPr lang="pt-PT" sz="1000" dirty="0" smtClean="0">
                          <a:effectLst/>
                        </a:rPr>
                        <a:t>188</a:t>
                      </a:r>
                      <a:endParaRPr lang="pt-PT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indent="101600" algn="r">
                        <a:spcAft>
                          <a:spcPts val="0"/>
                        </a:spcAft>
                      </a:pPr>
                      <a:r>
                        <a:rPr lang="pt-PT" sz="10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188</a:t>
                      </a:r>
                      <a:endParaRPr lang="pt-PT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</a:tr>
              <a:tr h="252000">
                <a:tc>
                  <a:txBody>
                    <a:bodyPr/>
                    <a:lstStyle/>
                    <a:p>
                      <a:pPr indent="102235">
                        <a:spcAft>
                          <a:spcPts val="0"/>
                        </a:spcAft>
                      </a:pPr>
                      <a:r>
                        <a:rPr lang="pt-PT" sz="1000" dirty="0">
                          <a:effectLst/>
                        </a:rPr>
                        <a:t>Linhas de 132 </a:t>
                      </a:r>
                      <a:r>
                        <a:rPr lang="pt-PT" sz="1000" dirty="0" smtClean="0">
                          <a:effectLst/>
                        </a:rPr>
                        <a:t>kV</a:t>
                      </a:r>
                      <a:endParaRPr lang="pt-PT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indent="101600" algn="r">
                        <a:spcAft>
                          <a:spcPts val="0"/>
                        </a:spcAft>
                      </a:pPr>
                      <a:r>
                        <a:rPr lang="pt-PT" sz="10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57</a:t>
                      </a:r>
                      <a:endParaRPr lang="pt-PT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indent="101600" algn="r">
                        <a:spcAft>
                          <a:spcPts val="0"/>
                        </a:spcAft>
                      </a:pPr>
                      <a:r>
                        <a:rPr lang="pt-PT" sz="10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57</a:t>
                      </a:r>
                      <a:endParaRPr lang="pt-PT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indent="101600" algn="r">
                        <a:spcAft>
                          <a:spcPts val="0"/>
                        </a:spcAft>
                      </a:pPr>
                      <a:r>
                        <a:rPr lang="pt-PT" sz="10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57</a:t>
                      </a:r>
                      <a:endParaRPr lang="pt-PT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indent="101600" algn="r">
                        <a:spcAft>
                          <a:spcPts val="0"/>
                        </a:spcAft>
                      </a:pPr>
                      <a:r>
                        <a:rPr lang="pt-PT" sz="10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57</a:t>
                      </a:r>
                      <a:endParaRPr lang="pt-PT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</a:tr>
              <a:tr h="252000">
                <a:tc>
                  <a:txBody>
                    <a:bodyPr/>
                    <a:lstStyle/>
                    <a:p>
                      <a:pPr indent="102235">
                        <a:spcAft>
                          <a:spcPts val="0"/>
                        </a:spcAft>
                      </a:pPr>
                      <a:r>
                        <a:rPr lang="pt-PT" sz="1000" dirty="0">
                          <a:effectLst/>
                        </a:rPr>
                        <a:t>Linhas de 110 KV</a:t>
                      </a:r>
                      <a:endParaRPr lang="pt-PT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indent="101600" algn="r">
                        <a:spcAft>
                          <a:spcPts val="0"/>
                        </a:spcAft>
                      </a:pPr>
                      <a:r>
                        <a:rPr lang="pt-PT" sz="1000" dirty="0" smtClean="0">
                          <a:effectLst/>
                        </a:rPr>
                        <a:t>146</a:t>
                      </a:r>
                      <a:endParaRPr lang="pt-PT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indent="101600" algn="r">
                        <a:spcAft>
                          <a:spcPts val="0"/>
                        </a:spcAft>
                      </a:pPr>
                      <a:r>
                        <a:rPr lang="pt-PT" sz="1000" dirty="0" smtClean="0">
                          <a:effectLst/>
                        </a:rPr>
                        <a:t>146</a:t>
                      </a:r>
                      <a:endParaRPr lang="pt-PT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indent="101600" algn="r">
                        <a:spcAft>
                          <a:spcPts val="0"/>
                        </a:spcAft>
                      </a:pPr>
                      <a:r>
                        <a:rPr lang="pt-PT" sz="1000" dirty="0" smtClean="0">
                          <a:effectLst/>
                        </a:rPr>
                        <a:t>146</a:t>
                      </a:r>
                      <a:endParaRPr lang="pt-PT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indent="101600" algn="r">
                        <a:spcAft>
                          <a:spcPts val="0"/>
                        </a:spcAft>
                      </a:pPr>
                      <a:r>
                        <a:rPr lang="pt-PT" sz="10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146</a:t>
                      </a:r>
                      <a:endParaRPr lang="pt-PT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</a:tr>
              <a:tr h="252000">
                <a:tc>
                  <a:txBody>
                    <a:bodyPr/>
                    <a:lstStyle/>
                    <a:p>
                      <a:pPr indent="102235">
                        <a:spcAft>
                          <a:spcPts val="0"/>
                        </a:spcAft>
                      </a:pPr>
                      <a:r>
                        <a:rPr lang="pt-PT" sz="1000" dirty="0">
                          <a:effectLst/>
                        </a:rPr>
                        <a:t>Linhas de 60 </a:t>
                      </a:r>
                      <a:r>
                        <a:rPr lang="pt-PT" sz="1000" dirty="0" smtClean="0">
                          <a:effectLst/>
                        </a:rPr>
                        <a:t>kV</a:t>
                      </a:r>
                      <a:endParaRPr lang="pt-PT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indent="101600" algn="r">
                        <a:spcAft>
                          <a:spcPts val="0"/>
                        </a:spcAft>
                      </a:pPr>
                      <a:r>
                        <a:rPr lang="pt-PT" sz="1000" dirty="0" smtClean="0">
                          <a:effectLst/>
                        </a:rPr>
                        <a:t>1.183</a:t>
                      </a:r>
                      <a:endParaRPr lang="pt-PT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indent="101600" algn="r">
                        <a:spcAft>
                          <a:spcPts val="0"/>
                        </a:spcAft>
                      </a:pPr>
                      <a:r>
                        <a:rPr lang="pt-PT" sz="1000" dirty="0" smtClean="0">
                          <a:effectLst/>
                        </a:rPr>
                        <a:t>1.332</a:t>
                      </a:r>
                      <a:endParaRPr lang="pt-PT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indent="101600" algn="r">
                        <a:spcAft>
                          <a:spcPts val="0"/>
                        </a:spcAft>
                      </a:pPr>
                      <a:r>
                        <a:rPr lang="pt-PT" sz="1000" dirty="0" smtClean="0">
                          <a:effectLst/>
                        </a:rPr>
                        <a:t>1.378</a:t>
                      </a:r>
                      <a:endParaRPr lang="pt-PT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indent="101600" algn="r">
                        <a:spcAft>
                          <a:spcPts val="0"/>
                        </a:spcAft>
                      </a:pPr>
                      <a:r>
                        <a:rPr lang="pt-PT" sz="10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1.394</a:t>
                      </a:r>
                      <a:endParaRPr lang="pt-PT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</a:tr>
              <a:tr h="353682">
                <a:tc>
                  <a:txBody>
                    <a:bodyPr/>
                    <a:lstStyle/>
                    <a:p>
                      <a:pPr indent="102235" algn="r">
                        <a:spcAft>
                          <a:spcPts val="0"/>
                        </a:spcAft>
                      </a:pPr>
                      <a:r>
                        <a:rPr lang="pt-PT" sz="1000" dirty="0">
                          <a:effectLst/>
                        </a:rPr>
                        <a:t>Total Linhas Construídas</a:t>
                      </a:r>
                      <a:endParaRPr lang="pt-PT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accent4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pt-PT" sz="1000" b="1" dirty="0" smtClean="0">
                          <a:effectLst/>
                        </a:rPr>
                        <a:t>3.577</a:t>
                      </a:r>
                      <a:endParaRPr lang="pt-PT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accent4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pt-PT" sz="1000" b="1" dirty="0" smtClean="0">
                          <a:effectLst/>
                        </a:rPr>
                        <a:t>3.726</a:t>
                      </a:r>
                      <a:endParaRPr lang="pt-PT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accent4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pt-PT" sz="1000" b="1" dirty="0" smtClean="0">
                          <a:effectLst/>
                        </a:rPr>
                        <a:t>3.772</a:t>
                      </a:r>
                      <a:endParaRPr lang="pt-PT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accent4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pt-PT" sz="1000" b="1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3.965</a:t>
                      </a:r>
                      <a:endParaRPr lang="pt-PT" sz="1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accent4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9294178"/>
              </p:ext>
            </p:extLst>
          </p:nvPr>
        </p:nvGraphicFramePr>
        <p:xfrm>
          <a:off x="5718416" y="961901"/>
          <a:ext cx="3514725" cy="205418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952500"/>
                <a:gridCol w="800100"/>
                <a:gridCol w="981075"/>
                <a:gridCol w="781050"/>
              </a:tblGrid>
              <a:tr h="361948">
                <a:tc gridSpan="4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PT" sz="1000" dirty="0">
                          <a:effectLst/>
                          <a:latin typeface="+mn-lt"/>
                        </a:rPr>
                        <a:t>Evolução da Potência Instalada em Subestações (MVA)</a:t>
                      </a:r>
                      <a:endParaRPr lang="pt-PT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</a:tr>
              <a:tr h="40116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PT" sz="1000">
                          <a:effectLst/>
                          <a:latin typeface="+mn-lt"/>
                        </a:rPr>
                        <a:t>Ano</a:t>
                      </a:r>
                      <a:endParaRPr lang="pt-PT" sz="10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R="71120" algn="ctr">
                        <a:spcAft>
                          <a:spcPts val="0"/>
                        </a:spcAft>
                      </a:pPr>
                      <a:r>
                        <a:rPr lang="pt-PT" sz="10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Instalada no Ano</a:t>
                      </a:r>
                      <a:endParaRPr lang="pt-PT" sz="10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R="20320" algn="ctr">
                        <a:spcAft>
                          <a:spcPts val="0"/>
                        </a:spcAft>
                      </a:pPr>
                      <a:r>
                        <a:rPr lang="pt-PT" sz="10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Valores Acumulados</a:t>
                      </a:r>
                      <a:endParaRPr lang="pt-PT" sz="10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PT" sz="10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Variação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PT" sz="10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Relat</a:t>
                      </a:r>
                      <a:r>
                        <a:rPr lang="pt-PT" sz="10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. ano</a:t>
                      </a:r>
                      <a:r>
                        <a:rPr lang="pt-PT" sz="1000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 anterior</a:t>
                      </a:r>
                      <a:endParaRPr lang="pt-PT" sz="10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</a:tr>
              <a:tr h="29688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PT" sz="1000" dirty="0">
                          <a:effectLst/>
                          <a:latin typeface="+mn-lt"/>
                        </a:rPr>
                        <a:t>2012</a:t>
                      </a:r>
                      <a:endParaRPr lang="pt-PT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R="159385" algn="r">
                        <a:spcAft>
                          <a:spcPts val="0"/>
                        </a:spcAft>
                      </a:pPr>
                      <a:r>
                        <a:rPr lang="pt-PT" sz="1000" dirty="0">
                          <a:effectLst/>
                          <a:latin typeface="+mn-lt"/>
                        </a:rPr>
                        <a:t>570</a:t>
                      </a:r>
                      <a:endParaRPr lang="pt-PT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R="164465" algn="r">
                        <a:spcAft>
                          <a:spcPts val="0"/>
                        </a:spcAft>
                      </a:pPr>
                      <a:r>
                        <a:rPr lang="pt-PT" sz="1000" smtClean="0">
                          <a:effectLst/>
                          <a:latin typeface="+mn-lt"/>
                        </a:rPr>
                        <a:t>4. </a:t>
                      </a:r>
                      <a:r>
                        <a:rPr lang="pt-PT" sz="1000" dirty="0">
                          <a:effectLst/>
                          <a:latin typeface="+mn-lt"/>
                        </a:rPr>
                        <a:t>611</a:t>
                      </a:r>
                      <a:endParaRPr lang="pt-PT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+mn-lt"/>
                        </a:rPr>
                        <a:t>12,4%</a:t>
                      </a:r>
                      <a:endParaRPr lang="pt-PT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</a:tr>
              <a:tr h="32063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PT" sz="1000">
                          <a:effectLst/>
                          <a:latin typeface="+mn-lt"/>
                        </a:rPr>
                        <a:t>2013</a:t>
                      </a:r>
                      <a:endParaRPr lang="pt-PT" sz="10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R="159385" algn="r">
                        <a:spcAft>
                          <a:spcPts val="0"/>
                        </a:spcAft>
                      </a:pPr>
                      <a:r>
                        <a:rPr lang="pt-PT" sz="1000" dirty="0">
                          <a:effectLst/>
                          <a:latin typeface="+mn-lt"/>
                        </a:rPr>
                        <a:t>0</a:t>
                      </a:r>
                      <a:endParaRPr lang="pt-PT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R="164465" algn="r">
                        <a:spcAft>
                          <a:spcPts val="0"/>
                        </a:spcAft>
                      </a:pPr>
                      <a:r>
                        <a:rPr lang="pt-PT" sz="1000" dirty="0">
                          <a:effectLst/>
                          <a:latin typeface="+mn-lt"/>
                        </a:rPr>
                        <a:t>4 </a:t>
                      </a:r>
                      <a:r>
                        <a:rPr lang="pt-PT" sz="1000" dirty="0" smtClean="0">
                          <a:effectLst/>
                          <a:latin typeface="+mn-lt"/>
                        </a:rPr>
                        <a:t>.611</a:t>
                      </a:r>
                      <a:endParaRPr lang="pt-PT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+mn-lt"/>
                        </a:rPr>
                        <a:t>0,0%</a:t>
                      </a:r>
                      <a:endParaRPr lang="pt-PT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</a:tr>
              <a:tr h="30875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PT" sz="1000" dirty="0">
                          <a:effectLst/>
                          <a:latin typeface="+mn-lt"/>
                        </a:rPr>
                        <a:t>2014</a:t>
                      </a:r>
                      <a:endParaRPr lang="pt-PT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R="159385" algn="r">
                        <a:spcAft>
                          <a:spcPts val="0"/>
                        </a:spcAft>
                      </a:pPr>
                      <a:r>
                        <a:rPr lang="pt-PT" sz="1000" dirty="0" smtClean="0">
                          <a:effectLst/>
                          <a:latin typeface="+mn-lt"/>
                        </a:rPr>
                        <a:t>2.626</a:t>
                      </a:r>
                      <a:endParaRPr lang="pt-PT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R="164465" algn="r">
                        <a:spcAft>
                          <a:spcPts val="0"/>
                        </a:spcAft>
                      </a:pPr>
                      <a:r>
                        <a:rPr lang="pt-PT" sz="1000" dirty="0">
                          <a:effectLst/>
                          <a:latin typeface="+mn-lt"/>
                        </a:rPr>
                        <a:t>7 </a:t>
                      </a:r>
                      <a:r>
                        <a:rPr lang="pt-PT" sz="1000" dirty="0" smtClean="0">
                          <a:effectLst/>
                          <a:latin typeface="+mn-lt"/>
                        </a:rPr>
                        <a:t>.237</a:t>
                      </a:r>
                      <a:endParaRPr lang="pt-PT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+mn-lt"/>
                        </a:rPr>
                        <a:t>36,3%</a:t>
                      </a:r>
                      <a:endParaRPr lang="pt-PT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</a:tr>
              <a:tr h="30875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PT" sz="10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2015 (1ºSem)</a:t>
                      </a:r>
                      <a:endParaRPr lang="pt-PT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R="159385" algn="r">
                        <a:spcAft>
                          <a:spcPts val="0"/>
                        </a:spcAft>
                      </a:pPr>
                      <a:r>
                        <a:rPr lang="pt-PT" sz="10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360</a:t>
                      </a:r>
                      <a:endParaRPr lang="pt-PT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R="164465" algn="r">
                        <a:spcAft>
                          <a:spcPts val="0"/>
                        </a:spcAft>
                      </a:pPr>
                      <a:r>
                        <a:rPr lang="pt-PT" sz="10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7.597</a:t>
                      </a:r>
                      <a:endParaRPr lang="pt-PT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pt-PT" sz="10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4,7%</a:t>
                      </a:r>
                      <a:endParaRPr lang="pt-PT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</a:tr>
            </a:tbl>
          </a:graphicData>
        </a:graphic>
      </p:graphicFrame>
      <p:sp>
        <p:nvSpPr>
          <p:cNvPr id="9" name="Rounded Rectangle 9"/>
          <p:cNvSpPr/>
          <p:nvPr/>
        </p:nvSpPr>
        <p:spPr>
          <a:xfrm>
            <a:off x="6431575" y="197691"/>
            <a:ext cx="3355675" cy="473048"/>
          </a:xfrm>
          <a:prstGeom prst="roundRect">
            <a:avLst/>
          </a:prstGeom>
          <a:solidFill>
            <a:schemeClr val="bg1">
              <a:lumMod val="85000"/>
              <a:alpha val="67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Ins="36000" rtlCol="0" anchor="ctr"/>
          <a:lstStyle/>
          <a:p>
            <a:r>
              <a:rPr lang="pt-PT" sz="1600" b="1" dirty="0" smtClean="0">
                <a:solidFill>
                  <a:schemeClr val="tx1"/>
                </a:solidFill>
              </a:rPr>
              <a:t>Transporte de Energia Eléctrica</a:t>
            </a:r>
            <a:endParaRPr lang="pt-PT" sz="1600" b="1" dirty="0">
              <a:solidFill>
                <a:schemeClr val="tx1"/>
              </a:solidFill>
            </a:endParaRPr>
          </a:p>
        </p:txBody>
      </p:sp>
      <p:graphicFrame>
        <p:nvGraphicFramePr>
          <p:cNvPr id="11" name="Gráfico 10"/>
          <p:cNvGraphicFramePr/>
          <p:nvPr/>
        </p:nvGraphicFramePr>
        <p:xfrm>
          <a:off x="427512" y="3693226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3" name="Gráfico 12"/>
          <p:cNvGraphicFramePr/>
          <p:nvPr/>
        </p:nvGraphicFramePr>
        <p:xfrm>
          <a:off x="5229225" y="3657600"/>
          <a:ext cx="4219575" cy="2638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4" name="Picture 2" descr="http://www.blue-sol.com/energia-solar/wp-content/uploads/2014/06/2564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239" y="2806"/>
            <a:ext cx="9901761" cy="6855193"/>
          </a:xfrm>
          <a:prstGeom prst="rect">
            <a:avLst/>
          </a:prstGeom>
          <a:noFill/>
        </p:spPr>
      </p:pic>
      <p:pic>
        <p:nvPicPr>
          <p:cNvPr id="5" name="Picture 1970" descr="C:\Users\patricia.m.loureiro\AppData\Local\Microsoft\Windows\Temporary Internet Files\Content.Outlook\YYF1YN1Y\insignia_large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3384" y="63053"/>
            <a:ext cx="780696" cy="770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>
          <a:xfrm>
            <a:off x="2104638" y="1011194"/>
            <a:ext cx="6019800" cy="1745670"/>
            <a:chOff x="3581400" y="2438400"/>
            <a:chExt cx="6019800" cy="2420476"/>
          </a:xfrm>
          <a:solidFill>
            <a:schemeClr val="bg1">
              <a:lumMod val="85000"/>
              <a:alpha val="67000"/>
            </a:schemeClr>
          </a:solidFill>
        </p:grpSpPr>
        <p:sp>
          <p:nvSpPr>
            <p:cNvPr id="7" name="Rounded Rectangle 11"/>
            <p:cNvSpPr/>
            <p:nvPr/>
          </p:nvSpPr>
          <p:spPr>
            <a:xfrm>
              <a:off x="3581400" y="2438400"/>
              <a:ext cx="625379" cy="677747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1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8" name="Rounded Rectangle 12"/>
            <p:cNvSpPr/>
            <p:nvPr/>
          </p:nvSpPr>
          <p:spPr>
            <a:xfrm>
              <a:off x="4379383" y="2438400"/>
              <a:ext cx="5221817" cy="677747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Introdução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9" name="Rounded Rectangle 18"/>
            <p:cNvSpPr/>
            <p:nvPr/>
          </p:nvSpPr>
          <p:spPr>
            <a:xfrm>
              <a:off x="3581400" y="3293621"/>
              <a:ext cx="625379" cy="672374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2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0" name="Rounded Rectangle 19"/>
            <p:cNvSpPr/>
            <p:nvPr/>
          </p:nvSpPr>
          <p:spPr>
            <a:xfrm>
              <a:off x="4379383" y="3293621"/>
              <a:ext cx="5221817" cy="672374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Produção de Energia Eléctrica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1" name="Rounded Rectangle 8"/>
            <p:cNvSpPr/>
            <p:nvPr/>
          </p:nvSpPr>
          <p:spPr>
            <a:xfrm>
              <a:off x="3581400" y="4202967"/>
              <a:ext cx="625379" cy="655909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3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2" name="Rounded Rectangle 9"/>
            <p:cNvSpPr/>
            <p:nvPr/>
          </p:nvSpPr>
          <p:spPr>
            <a:xfrm>
              <a:off x="4379383" y="4159935"/>
              <a:ext cx="5221817" cy="655909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Transporte de Energia Eléctrica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3" name="Group 24"/>
          <p:cNvGrpSpPr/>
          <p:nvPr/>
        </p:nvGrpSpPr>
        <p:grpSpPr>
          <a:xfrm>
            <a:off x="2104638" y="2873831"/>
            <a:ext cx="6019800" cy="471989"/>
            <a:chOff x="3600000" y="5715000"/>
            <a:chExt cx="6019800" cy="654441"/>
          </a:xfrm>
          <a:solidFill>
            <a:schemeClr val="bg1">
              <a:lumMod val="85000"/>
              <a:alpha val="67000"/>
            </a:schemeClr>
          </a:solidFill>
        </p:grpSpPr>
        <p:sp>
          <p:nvSpPr>
            <p:cNvPr id="14" name="Rounded Rectangle 25"/>
            <p:cNvSpPr/>
            <p:nvPr/>
          </p:nvSpPr>
          <p:spPr>
            <a:xfrm>
              <a:off x="3600000" y="5715000"/>
              <a:ext cx="625379" cy="654441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bg1"/>
                  </a:solidFill>
                </a:rPr>
                <a:t>4</a:t>
              </a:r>
              <a:endParaRPr lang="pt-PT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5" name="Rounded Rectangle 26"/>
            <p:cNvSpPr/>
            <p:nvPr/>
          </p:nvSpPr>
          <p:spPr>
            <a:xfrm>
              <a:off x="4397983" y="5715000"/>
              <a:ext cx="5221817" cy="654441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bg1"/>
                  </a:solidFill>
                </a:rPr>
                <a:t>Distribuição de Energia Eléctrica</a:t>
              </a:r>
              <a:endParaRPr lang="pt-PT" sz="16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6" name="TextBox 1"/>
          <p:cNvSpPr txBox="1"/>
          <p:nvPr/>
        </p:nvSpPr>
        <p:spPr>
          <a:xfrm>
            <a:off x="1887258" y="424339"/>
            <a:ext cx="1664002" cy="425758"/>
          </a:xfrm>
          <a:prstGeom prst="rect">
            <a:avLst/>
          </a:prstGeom>
        </p:spPr>
        <p:txBody>
          <a:bodyPr wrap="square" lIns="0" anchor="b">
            <a:spAutoFit/>
          </a:bodyPr>
          <a:lstStyle>
            <a:lvl1pPr eaLnBrk="1" hangingPunct="1">
              <a:lnSpc>
                <a:spcPts val="2600"/>
              </a:lnSpc>
              <a:buFont typeface="Arial" charset="0"/>
              <a:defRPr sz="2000" b="1" spc="0" baseline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1pPr>
            <a:lvl2pPr eaLnBrk="1" hangingPunct="1">
              <a:lnSpc>
                <a:spcPts val="2600"/>
              </a:lnSpc>
              <a:buFont typeface="Arial" charset="0"/>
              <a:defRPr sz="2400"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eaLnBrk="1" hangingPunct="1">
              <a:lnSpc>
                <a:spcPts val="2600"/>
              </a:lnSpc>
              <a:buFont typeface="Arial" charset="0"/>
              <a:defRPr sz="2400"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eaLnBrk="1" hangingPunct="1">
              <a:lnSpc>
                <a:spcPts val="2600"/>
              </a:lnSpc>
              <a:buFont typeface="Arial" charset="0"/>
              <a:defRPr sz="2400"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eaLnBrk="1" hangingPunct="1">
              <a:lnSpc>
                <a:spcPts val="2600"/>
              </a:lnSpc>
              <a:buFont typeface="Arial" charset="0"/>
              <a:defRPr sz="2400"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pPr lvl="0" algn="ctr"/>
            <a:r>
              <a:rPr lang="en-US" sz="2400" baseline="0" dirty="0" smtClean="0">
                <a:solidFill>
                  <a:srgbClr val="FFCC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genda</a:t>
            </a:r>
            <a:endParaRPr lang="en-US" sz="2400" baseline="0" dirty="0">
              <a:solidFill>
                <a:srgbClr val="FFCC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4" name="Group 24"/>
          <p:cNvGrpSpPr/>
          <p:nvPr/>
        </p:nvGrpSpPr>
        <p:grpSpPr>
          <a:xfrm>
            <a:off x="2117184" y="4112151"/>
            <a:ext cx="6019800" cy="471989"/>
            <a:chOff x="3600000" y="5715000"/>
            <a:chExt cx="6019800" cy="654441"/>
          </a:xfrm>
          <a:solidFill>
            <a:schemeClr val="bg1">
              <a:lumMod val="85000"/>
              <a:alpha val="67000"/>
            </a:schemeClr>
          </a:solidFill>
        </p:grpSpPr>
        <p:sp>
          <p:nvSpPr>
            <p:cNvPr id="18" name="Rounded Rectangle 25"/>
            <p:cNvSpPr/>
            <p:nvPr/>
          </p:nvSpPr>
          <p:spPr>
            <a:xfrm>
              <a:off x="3600000" y="5715000"/>
              <a:ext cx="625379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6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9" name="Rounded Rectangle 26"/>
            <p:cNvSpPr/>
            <p:nvPr/>
          </p:nvSpPr>
          <p:spPr>
            <a:xfrm>
              <a:off x="4397983" y="5715000"/>
              <a:ext cx="5221817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Energias Renováveis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6" name="Group 24"/>
          <p:cNvGrpSpPr/>
          <p:nvPr/>
        </p:nvGrpSpPr>
        <p:grpSpPr>
          <a:xfrm>
            <a:off x="2138700" y="4734586"/>
            <a:ext cx="6019800" cy="471989"/>
            <a:chOff x="3600000" y="5715000"/>
            <a:chExt cx="6019800" cy="654441"/>
          </a:xfrm>
          <a:solidFill>
            <a:schemeClr val="bg1">
              <a:lumMod val="85000"/>
              <a:alpha val="67000"/>
            </a:schemeClr>
          </a:solidFill>
        </p:grpSpPr>
        <p:sp>
          <p:nvSpPr>
            <p:cNvPr id="21" name="Rounded Rectangle 25"/>
            <p:cNvSpPr/>
            <p:nvPr/>
          </p:nvSpPr>
          <p:spPr>
            <a:xfrm>
              <a:off x="3600000" y="5715000"/>
              <a:ext cx="625379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7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22" name="Rounded Rectangle 26"/>
            <p:cNvSpPr/>
            <p:nvPr/>
          </p:nvSpPr>
          <p:spPr>
            <a:xfrm>
              <a:off x="4397983" y="5715000"/>
              <a:ext cx="5221817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Electrificação Rural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3" name="Group 24"/>
          <p:cNvGrpSpPr/>
          <p:nvPr/>
        </p:nvGrpSpPr>
        <p:grpSpPr>
          <a:xfrm>
            <a:off x="2151246" y="5335059"/>
            <a:ext cx="6019800" cy="471989"/>
            <a:chOff x="3600000" y="5715000"/>
            <a:chExt cx="6019800" cy="654441"/>
          </a:xfrm>
          <a:solidFill>
            <a:schemeClr val="bg1">
              <a:lumMod val="85000"/>
              <a:alpha val="67000"/>
            </a:schemeClr>
          </a:solidFill>
        </p:grpSpPr>
        <p:sp>
          <p:nvSpPr>
            <p:cNvPr id="24" name="Rounded Rectangle 25"/>
            <p:cNvSpPr/>
            <p:nvPr/>
          </p:nvSpPr>
          <p:spPr>
            <a:xfrm>
              <a:off x="3600000" y="5715000"/>
              <a:ext cx="625379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8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25" name="Rounded Rectangle 26"/>
            <p:cNvSpPr/>
            <p:nvPr/>
          </p:nvSpPr>
          <p:spPr>
            <a:xfrm>
              <a:off x="4397983" y="5715000"/>
              <a:ext cx="5221817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Licenciamento e Fiscalização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7" name="Group 24"/>
          <p:cNvGrpSpPr/>
          <p:nvPr/>
        </p:nvGrpSpPr>
        <p:grpSpPr>
          <a:xfrm>
            <a:off x="2102663" y="3489356"/>
            <a:ext cx="6019800" cy="471989"/>
            <a:chOff x="3600000" y="5715000"/>
            <a:chExt cx="6019800" cy="654441"/>
          </a:xfrm>
          <a:solidFill>
            <a:schemeClr val="bg1">
              <a:lumMod val="85000"/>
              <a:alpha val="67000"/>
            </a:schemeClr>
          </a:solidFill>
        </p:grpSpPr>
        <p:sp>
          <p:nvSpPr>
            <p:cNvPr id="27" name="Rounded Rectangle 25"/>
            <p:cNvSpPr/>
            <p:nvPr/>
          </p:nvSpPr>
          <p:spPr>
            <a:xfrm>
              <a:off x="3600000" y="5715000"/>
              <a:ext cx="625379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5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28" name="Rounded Rectangle 26"/>
            <p:cNvSpPr/>
            <p:nvPr/>
          </p:nvSpPr>
          <p:spPr>
            <a:xfrm>
              <a:off x="4397983" y="5715000"/>
              <a:ext cx="5221817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Projectos Estruturantes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e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9077101"/>
              </p:ext>
            </p:extLst>
          </p:nvPr>
        </p:nvGraphicFramePr>
        <p:xfrm>
          <a:off x="205502" y="1074807"/>
          <a:ext cx="4153774" cy="172322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66120"/>
                <a:gridCol w="675636"/>
                <a:gridCol w="658930"/>
                <a:gridCol w="726544"/>
                <a:gridCol w="726544"/>
              </a:tblGrid>
              <a:tr h="430807">
                <a:tc gridSpan="5"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PT" sz="1000" dirty="0">
                          <a:effectLst/>
                        </a:rPr>
                        <a:t>Acesso a Energia Eléctrica - Novas Ligações</a:t>
                      </a:r>
                      <a:endParaRPr lang="pt-PT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pt-PT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3080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PT" sz="1000" dirty="0">
                          <a:effectLst/>
                        </a:rPr>
                        <a:t>Anos</a:t>
                      </a:r>
                      <a:endParaRPr lang="pt-PT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PT" sz="1000" b="1" dirty="0">
                          <a:solidFill>
                            <a:schemeClr val="bg1"/>
                          </a:solidFill>
                          <a:effectLst/>
                        </a:rPr>
                        <a:t>2012 </a:t>
                      </a:r>
                      <a:endParaRPr lang="pt-PT" sz="1000" b="1" dirty="0">
                        <a:solidFill>
                          <a:schemeClr val="bg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PT" sz="1000" b="1" dirty="0">
                          <a:solidFill>
                            <a:schemeClr val="bg1"/>
                          </a:solidFill>
                          <a:effectLst/>
                        </a:rPr>
                        <a:t>2 013</a:t>
                      </a:r>
                      <a:endParaRPr lang="pt-PT" sz="1000" b="1" dirty="0">
                        <a:solidFill>
                          <a:schemeClr val="bg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PT" sz="1000" b="1" dirty="0">
                          <a:solidFill>
                            <a:schemeClr val="bg1"/>
                          </a:solidFill>
                          <a:effectLst/>
                        </a:rPr>
                        <a:t>2 014</a:t>
                      </a:r>
                      <a:endParaRPr lang="pt-PT" sz="1000" b="1" dirty="0">
                        <a:solidFill>
                          <a:schemeClr val="bg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PT" sz="1000" b="1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2015 (1ºSem)</a:t>
                      </a:r>
                      <a:endParaRPr lang="pt-PT" sz="1000" b="1" dirty="0">
                        <a:solidFill>
                          <a:schemeClr val="bg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</a:tr>
              <a:tr h="430807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pt-PT" sz="1000" dirty="0">
                          <a:effectLst/>
                        </a:rPr>
                        <a:t>Acréscimo Anual de Novas </a:t>
                      </a:r>
                      <a:r>
                        <a:rPr lang="pt-PT" sz="1000" dirty="0" smtClean="0">
                          <a:effectLst/>
                        </a:rPr>
                        <a:t>ligações</a:t>
                      </a:r>
                      <a:endParaRPr lang="pt-PT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PT" sz="1000" dirty="0" smtClean="0">
                          <a:effectLst/>
                        </a:rPr>
                        <a:t>60.468</a:t>
                      </a:r>
                      <a:endParaRPr lang="pt-PT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PT" sz="1000" dirty="0" smtClean="0">
                          <a:effectLst/>
                        </a:rPr>
                        <a:t>214.349</a:t>
                      </a:r>
                      <a:endParaRPr lang="pt-PT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PT" sz="1000" dirty="0" smtClean="0">
                          <a:effectLst/>
                        </a:rPr>
                        <a:t>209.805</a:t>
                      </a:r>
                      <a:endParaRPr lang="pt-PT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PT" sz="10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158.670</a:t>
                      </a:r>
                      <a:endParaRPr lang="pt-PT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</a:tr>
              <a:tr h="430807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pt-PT" sz="1000" dirty="0">
                          <a:effectLst/>
                        </a:rPr>
                        <a:t>Acumulado de Novas ligações</a:t>
                      </a:r>
                      <a:endParaRPr lang="pt-PT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PT" sz="1000" dirty="0" smtClean="0">
                          <a:effectLst/>
                        </a:rPr>
                        <a:t>623.795</a:t>
                      </a:r>
                      <a:endParaRPr lang="pt-PT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indent="101600" algn="ctr">
                        <a:spcAft>
                          <a:spcPts val="0"/>
                        </a:spcAft>
                      </a:pPr>
                      <a:r>
                        <a:rPr lang="pt-PT" sz="1000" dirty="0" smtClean="0">
                          <a:effectLst/>
                        </a:rPr>
                        <a:t>838.144</a:t>
                      </a:r>
                      <a:endParaRPr lang="pt-PT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PT" sz="1000" dirty="0" smtClean="0">
                          <a:effectLst/>
                        </a:rPr>
                        <a:t>1.047.949</a:t>
                      </a:r>
                      <a:endParaRPr lang="pt-PT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PT" sz="10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1.206.619</a:t>
                      </a:r>
                      <a:endParaRPr lang="pt-PT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</a:tr>
            </a:tbl>
          </a:graphicData>
        </a:graphic>
      </p:graphicFrame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7971001"/>
              </p:ext>
            </p:extLst>
          </p:nvPr>
        </p:nvGraphicFramePr>
        <p:xfrm>
          <a:off x="4974683" y="1075022"/>
          <a:ext cx="4722421" cy="177737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502385"/>
                <a:gridCol w="768936"/>
                <a:gridCol w="812800"/>
                <a:gridCol w="838200"/>
                <a:gridCol w="800100"/>
              </a:tblGrid>
              <a:tr h="468769">
                <a:tc gridSpan="5"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PT" sz="1000" dirty="0">
                          <a:effectLst/>
                        </a:rPr>
                        <a:t>Acesso a Energia Eléctrica - População </a:t>
                      </a:r>
                      <a:r>
                        <a:rPr lang="pt-PT" sz="1000" dirty="0" smtClean="0">
                          <a:effectLst/>
                        </a:rPr>
                        <a:t>Servida</a:t>
                      </a:r>
                      <a:endParaRPr lang="pt-PT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pt-PT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0376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PT" sz="1000" dirty="0">
                          <a:effectLst/>
                        </a:rPr>
                        <a:t>Anos</a:t>
                      </a:r>
                      <a:endParaRPr lang="pt-PT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PT" sz="1000" b="1" dirty="0">
                          <a:solidFill>
                            <a:schemeClr val="bg1"/>
                          </a:solidFill>
                          <a:effectLst/>
                        </a:rPr>
                        <a:t>2012 </a:t>
                      </a:r>
                      <a:endParaRPr lang="pt-PT" sz="1000" b="1" dirty="0">
                        <a:solidFill>
                          <a:schemeClr val="bg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PT" sz="1000" b="1" dirty="0">
                          <a:solidFill>
                            <a:schemeClr val="bg1"/>
                          </a:solidFill>
                          <a:effectLst/>
                        </a:rPr>
                        <a:t>2 013</a:t>
                      </a:r>
                      <a:endParaRPr lang="pt-PT" sz="1000" b="1" dirty="0">
                        <a:solidFill>
                          <a:schemeClr val="bg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PT" sz="1000" b="1" dirty="0">
                          <a:solidFill>
                            <a:schemeClr val="bg1"/>
                          </a:solidFill>
                          <a:effectLst/>
                        </a:rPr>
                        <a:t>2 014</a:t>
                      </a:r>
                      <a:endParaRPr lang="pt-PT" sz="1000" b="1" dirty="0">
                        <a:solidFill>
                          <a:schemeClr val="bg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b="1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2015 (1ºSem)</a:t>
                      </a:r>
                    </a:p>
                  </a:txBody>
                  <a:tcPr marL="44450" marR="44450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</a:tr>
              <a:tr h="444323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pt-PT" sz="1000" dirty="0">
                          <a:effectLst/>
                        </a:rPr>
                        <a:t>Acréscimo Anual de Beneficiários Servidos </a:t>
                      </a:r>
                      <a:endParaRPr lang="pt-PT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pt-PT" sz="1000" dirty="0" smtClean="0">
                          <a:effectLst/>
                        </a:rPr>
                        <a:t>302.340</a:t>
                      </a:r>
                      <a:endParaRPr lang="pt-PT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pt-PT" sz="1000" dirty="0" smtClean="0">
                          <a:effectLst/>
                        </a:rPr>
                        <a:t>1. </a:t>
                      </a:r>
                      <a:r>
                        <a:rPr lang="pt-PT" sz="1000" dirty="0">
                          <a:effectLst/>
                        </a:rPr>
                        <a:t>071 </a:t>
                      </a:r>
                      <a:r>
                        <a:rPr lang="pt-PT" sz="1000" dirty="0" smtClean="0">
                          <a:effectLst/>
                        </a:rPr>
                        <a:t>.745</a:t>
                      </a:r>
                      <a:endParaRPr lang="pt-PT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pt-PT" sz="1000" dirty="0" smtClean="0">
                          <a:effectLst/>
                        </a:rPr>
                        <a:t>1. 049. </a:t>
                      </a:r>
                      <a:r>
                        <a:rPr lang="pt-PT" sz="1000" dirty="0">
                          <a:effectLst/>
                        </a:rPr>
                        <a:t>025</a:t>
                      </a:r>
                      <a:endParaRPr lang="pt-PT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pt-PT" sz="10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793.350</a:t>
                      </a:r>
                      <a:endParaRPr lang="pt-PT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</a:tr>
              <a:tr h="460526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pt-PT" sz="1000">
                          <a:effectLst/>
                        </a:rPr>
                        <a:t>Acumulado de Beneficiários Servidos </a:t>
                      </a:r>
                      <a:endParaRPr lang="pt-PT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pt-PT" sz="1000" dirty="0" smtClean="0">
                          <a:effectLst/>
                        </a:rPr>
                        <a:t>3. 118. </a:t>
                      </a:r>
                      <a:r>
                        <a:rPr lang="pt-PT" sz="1000" dirty="0">
                          <a:effectLst/>
                        </a:rPr>
                        <a:t>975</a:t>
                      </a:r>
                      <a:endParaRPr lang="pt-PT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pt-PT" sz="1000" dirty="0" smtClean="0">
                          <a:effectLst/>
                        </a:rPr>
                        <a:t>4. 190. </a:t>
                      </a:r>
                      <a:r>
                        <a:rPr lang="pt-PT" sz="1000" dirty="0">
                          <a:effectLst/>
                        </a:rPr>
                        <a:t>720</a:t>
                      </a:r>
                      <a:endParaRPr lang="pt-PT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pt-PT" sz="1000" dirty="0" smtClean="0">
                          <a:effectLst/>
                        </a:rPr>
                        <a:t>5. 239. </a:t>
                      </a:r>
                      <a:r>
                        <a:rPr lang="pt-PT" sz="1000" dirty="0">
                          <a:effectLst/>
                        </a:rPr>
                        <a:t>745</a:t>
                      </a:r>
                      <a:endParaRPr lang="pt-PT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pt-PT" sz="10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6.033.295</a:t>
                      </a:r>
                      <a:endParaRPr lang="pt-PT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</a:tr>
            </a:tbl>
          </a:graphicData>
        </a:graphic>
      </p:graphicFrame>
      <p:sp>
        <p:nvSpPr>
          <p:cNvPr id="8" name="CaixaDeTexto 7"/>
          <p:cNvSpPr txBox="1"/>
          <p:nvPr/>
        </p:nvSpPr>
        <p:spPr>
          <a:xfrm>
            <a:off x="1965649" y="162066"/>
            <a:ext cx="3902030" cy="661720"/>
          </a:xfrm>
          <a:prstGeom prst="rect">
            <a:avLst/>
          </a:prstGeom>
          <a:ln w="9525"/>
        </p:spPr>
        <p:txBody>
          <a:bodyPr wrap="none" lIns="91440" tIns="45720" rIns="91440" bIns="45720" rtlCol="0"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lang="pt-PT" sz="1600" b="1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cs typeface="+mn-cs"/>
              </a:rPr>
              <a:t>Acesso a Energia Eléctrica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lang="pt-PT" sz="1600" b="1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cs typeface="+mn-cs"/>
              </a:rPr>
              <a:t>Novas Ligações e População Servida</a:t>
            </a:r>
            <a:endParaRPr kumimoji="0" lang="pt-PT" sz="1600" b="1" i="0" u="none" strike="noStrike" kern="1200" cap="none" spc="0" normalizeH="0" baseline="0" noProof="0" dirty="0" smtClean="0">
              <a:ln>
                <a:noFill/>
              </a:ln>
              <a:solidFill>
                <a:schemeClr val="accent6">
                  <a:lumMod val="60000"/>
                  <a:lumOff val="4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Rounded Rectangle 26"/>
          <p:cNvSpPr/>
          <p:nvPr/>
        </p:nvSpPr>
        <p:spPr>
          <a:xfrm>
            <a:off x="6198925" y="162066"/>
            <a:ext cx="3498179" cy="471989"/>
          </a:xfrm>
          <a:prstGeom prst="roundRect">
            <a:avLst/>
          </a:prstGeom>
          <a:solidFill>
            <a:schemeClr val="bg1">
              <a:lumMod val="85000"/>
              <a:alpha val="67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Ins="36000" rtlCol="0" anchor="ctr"/>
          <a:lstStyle/>
          <a:p>
            <a:r>
              <a:rPr lang="pt-PT" sz="1600" b="1" dirty="0" smtClean="0">
                <a:solidFill>
                  <a:schemeClr val="tx1"/>
                </a:solidFill>
              </a:rPr>
              <a:t>Distribuição de Energia Eléctrica</a:t>
            </a:r>
            <a:endParaRPr lang="pt-PT" sz="1600" b="1" dirty="0">
              <a:solidFill>
                <a:schemeClr val="tx1"/>
              </a:solidFill>
            </a:endParaRPr>
          </a:p>
        </p:txBody>
      </p:sp>
      <p:graphicFrame>
        <p:nvGraphicFramePr>
          <p:cNvPr id="13" name="Gráfico 12"/>
          <p:cNvGraphicFramePr/>
          <p:nvPr/>
        </p:nvGraphicFramePr>
        <p:xfrm>
          <a:off x="427512" y="3241964"/>
          <a:ext cx="4572000" cy="31208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Gráfico 8"/>
          <p:cNvGraphicFramePr/>
          <p:nvPr/>
        </p:nvGraphicFramePr>
        <p:xfrm>
          <a:off x="4999512" y="3429000"/>
          <a:ext cx="4697592" cy="2933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4" name="Picture 2" descr="http://www.blue-sol.com/energia-solar/wp-content/uploads/2014/06/2564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239" y="2806"/>
            <a:ext cx="9901761" cy="6855193"/>
          </a:xfrm>
          <a:prstGeom prst="rect">
            <a:avLst/>
          </a:prstGeom>
          <a:noFill/>
        </p:spPr>
      </p:pic>
      <p:pic>
        <p:nvPicPr>
          <p:cNvPr id="5" name="Picture 1970" descr="C:\Users\patricia.m.loureiro\AppData\Local\Microsoft\Windows\Temporary Internet Files\Content.Outlook\YYF1YN1Y\insignia_large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3384" y="63053"/>
            <a:ext cx="780696" cy="770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>
          <a:xfrm>
            <a:off x="2104638" y="1011194"/>
            <a:ext cx="6019800" cy="1745670"/>
            <a:chOff x="3581400" y="2438400"/>
            <a:chExt cx="6019800" cy="2420476"/>
          </a:xfrm>
          <a:solidFill>
            <a:schemeClr val="bg1">
              <a:lumMod val="85000"/>
              <a:alpha val="67000"/>
            </a:schemeClr>
          </a:solidFill>
        </p:grpSpPr>
        <p:sp>
          <p:nvSpPr>
            <p:cNvPr id="7" name="Rounded Rectangle 11"/>
            <p:cNvSpPr/>
            <p:nvPr/>
          </p:nvSpPr>
          <p:spPr>
            <a:xfrm>
              <a:off x="3581400" y="2438400"/>
              <a:ext cx="625379" cy="677747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1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8" name="Rounded Rectangle 12"/>
            <p:cNvSpPr/>
            <p:nvPr/>
          </p:nvSpPr>
          <p:spPr>
            <a:xfrm>
              <a:off x="4379383" y="2438400"/>
              <a:ext cx="5221817" cy="677747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Introdução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9" name="Rounded Rectangle 18"/>
            <p:cNvSpPr/>
            <p:nvPr/>
          </p:nvSpPr>
          <p:spPr>
            <a:xfrm>
              <a:off x="3581400" y="3293621"/>
              <a:ext cx="625379" cy="672374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2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0" name="Rounded Rectangle 19"/>
            <p:cNvSpPr/>
            <p:nvPr/>
          </p:nvSpPr>
          <p:spPr>
            <a:xfrm>
              <a:off x="4379383" y="3293621"/>
              <a:ext cx="5221817" cy="672374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Produção de Energia Eléctrica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1" name="Rounded Rectangle 8"/>
            <p:cNvSpPr/>
            <p:nvPr/>
          </p:nvSpPr>
          <p:spPr>
            <a:xfrm>
              <a:off x="3581400" y="4202967"/>
              <a:ext cx="625379" cy="655909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3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2" name="Rounded Rectangle 9"/>
            <p:cNvSpPr/>
            <p:nvPr/>
          </p:nvSpPr>
          <p:spPr>
            <a:xfrm>
              <a:off x="4379383" y="4159935"/>
              <a:ext cx="5221817" cy="655909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Transporte de Energia Eléctrica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3" name="Group 24"/>
          <p:cNvGrpSpPr/>
          <p:nvPr/>
        </p:nvGrpSpPr>
        <p:grpSpPr>
          <a:xfrm>
            <a:off x="2104638" y="2873831"/>
            <a:ext cx="6019800" cy="471989"/>
            <a:chOff x="3600000" y="5715000"/>
            <a:chExt cx="6019800" cy="654441"/>
          </a:xfrm>
          <a:solidFill>
            <a:schemeClr val="bg1">
              <a:lumMod val="85000"/>
              <a:alpha val="67000"/>
            </a:schemeClr>
          </a:solidFill>
        </p:grpSpPr>
        <p:sp>
          <p:nvSpPr>
            <p:cNvPr id="14" name="Rounded Rectangle 25"/>
            <p:cNvSpPr/>
            <p:nvPr/>
          </p:nvSpPr>
          <p:spPr>
            <a:xfrm>
              <a:off x="3600000" y="5715000"/>
              <a:ext cx="625379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4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5" name="Rounded Rectangle 26"/>
            <p:cNvSpPr/>
            <p:nvPr/>
          </p:nvSpPr>
          <p:spPr>
            <a:xfrm>
              <a:off x="4397983" y="5715000"/>
              <a:ext cx="5221817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Distribuição de Energia Eléctrica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16" name="TextBox 1"/>
          <p:cNvSpPr txBox="1"/>
          <p:nvPr/>
        </p:nvSpPr>
        <p:spPr>
          <a:xfrm>
            <a:off x="1887258" y="424339"/>
            <a:ext cx="1664002" cy="425758"/>
          </a:xfrm>
          <a:prstGeom prst="rect">
            <a:avLst/>
          </a:prstGeom>
        </p:spPr>
        <p:txBody>
          <a:bodyPr wrap="square" lIns="0" anchor="b">
            <a:spAutoFit/>
          </a:bodyPr>
          <a:lstStyle>
            <a:lvl1pPr eaLnBrk="1" hangingPunct="1">
              <a:lnSpc>
                <a:spcPts val="2600"/>
              </a:lnSpc>
              <a:buFont typeface="Arial" charset="0"/>
              <a:defRPr sz="2000" b="1" spc="0" baseline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1pPr>
            <a:lvl2pPr eaLnBrk="1" hangingPunct="1">
              <a:lnSpc>
                <a:spcPts val="2600"/>
              </a:lnSpc>
              <a:buFont typeface="Arial" charset="0"/>
              <a:defRPr sz="2400"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eaLnBrk="1" hangingPunct="1">
              <a:lnSpc>
                <a:spcPts val="2600"/>
              </a:lnSpc>
              <a:buFont typeface="Arial" charset="0"/>
              <a:defRPr sz="2400"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eaLnBrk="1" hangingPunct="1">
              <a:lnSpc>
                <a:spcPts val="2600"/>
              </a:lnSpc>
              <a:buFont typeface="Arial" charset="0"/>
              <a:defRPr sz="2400"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eaLnBrk="1" hangingPunct="1">
              <a:lnSpc>
                <a:spcPts val="2600"/>
              </a:lnSpc>
              <a:buFont typeface="Arial" charset="0"/>
              <a:defRPr sz="2400"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pPr lvl="0" algn="ctr"/>
            <a:r>
              <a:rPr lang="en-US" sz="2400" baseline="0" dirty="0" smtClean="0">
                <a:solidFill>
                  <a:srgbClr val="FFCC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genda</a:t>
            </a:r>
            <a:endParaRPr lang="en-US" sz="2400" baseline="0" dirty="0">
              <a:solidFill>
                <a:srgbClr val="FFCC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4" name="Group 24"/>
          <p:cNvGrpSpPr/>
          <p:nvPr/>
        </p:nvGrpSpPr>
        <p:grpSpPr>
          <a:xfrm>
            <a:off x="2117184" y="4112151"/>
            <a:ext cx="6019800" cy="471989"/>
            <a:chOff x="3600000" y="5715000"/>
            <a:chExt cx="6019800" cy="654441"/>
          </a:xfrm>
          <a:solidFill>
            <a:schemeClr val="bg1">
              <a:lumMod val="85000"/>
              <a:alpha val="67000"/>
            </a:schemeClr>
          </a:solidFill>
        </p:grpSpPr>
        <p:sp>
          <p:nvSpPr>
            <p:cNvPr id="18" name="Rounded Rectangle 25"/>
            <p:cNvSpPr/>
            <p:nvPr/>
          </p:nvSpPr>
          <p:spPr>
            <a:xfrm>
              <a:off x="3600000" y="5715000"/>
              <a:ext cx="625379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6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9" name="Rounded Rectangle 26"/>
            <p:cNvSpPr/>
            <p:nvPr/>
          </p:nvSpPr>
          <p:spPr>
            <a:xfrm>
              <a:off x="4397983" y="5715000"/>
              <a:ext cx="5221817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Energias Renováveis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6" name="Group 24"/>
          <p:cNvGrpSpPr/>
          <p:nvPr/>
        </p:nvGrpSpPr>
        <p:grpSpPr>
          <a:xfrm>
            <a:off x="2138700" y="4734586"/>
            <a:ext cx="6019800" cy="471989"/>
            <a:chOff x="3600000" y="5715000"/>
            <a:chExt cx="6019800" cy="654441"/>
          </a:xfrm>
          <a:solidFill>
            <a:schemeClr val="bg1">
              <a:lumMod val="85000"/>
              <a:alpha val="67000"/>
            </a:schemeClr>
          </a:solidFill>
        </p:grpSpPr>
        <p:sp>
          <p:nvSpPr>
            <p:cNvPr id="21" name="Rounded Rectangle 25"/>
            <p:cNvSpPr/>
            <p:nvPr/>
          </p:nvSpPr>
          <p:spPr>
            <a:xfrm>
              <a:off x="3600000" y="5715000"/>
              <a:ext cx="625379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7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22" name="Rounded Rectangle 26"/>
            <p:cNvSpPr/>
            <p:nvPr/>
          </p:nvSpPr>
          <p:spPr>
            <a:xfrm>
              <a:off x="4397983" y="5715000"/>
              <a:ext cx="5221817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Electrificação Rural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3" name="Group 24"/>
          <p:cNvGrpSpPr/>
          <p:nvPr/>
        </p:nvGrpSpPr>
        <p:grpSpPr>
          <a:xfrm>
            <a:off x="2151246" y="5335059"/>
            <a:ext cx="6019800" cy="471989"/>
            <a:chOff x="3600000" y="5715000"/>
            <a:chExt cx="6019800" cy="654441"/>
          </a:xfrm>
          <a:solidFill>
            <a:schemeClr val="bg1">
              <a:lumMod val="85000"/>
              <a:alpha val="67000"/>
            </a:schemeClr>
          </a:solidFill>
        </p:grpSpPr>
        <p:sp>
          <p:nvSpPr>
            <p:cNvPr id="24" name="Rounded Rectangle 25"/>
            <p:cNvSpPr/>
            <p:nvPr/>
          </p:nvSpPr>
          <p:spPr>
            <a:xfrm>
              <a:off x="3600000" y="5715000"/>
              <a:ext cx="625379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8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25" name="Rounded Rectangle 26"/>
            <p:cNvSpPr/>
            <p:nvPr/>
          </p:nvSpPr>
          <p:spPr>
            <a:xfrm>
              <a:off x="4397983" y="5715000"/>
              <a:ext cx="5221817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Licenciamento e Fiscalização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7" name="Group 24"/>
          <p:cNvGrpSpPr/>
          <p:nvPr/>
        </p:nvGrpSpPr>
        <p:grpSpPr>
          <a:xfrm>
            <a:off x="2102663" y="3489356"/>
            <a:ext cx="6019800" cy="471989"/>
            <a:chOff x="3600000" y="5715000"/>
            <a:chExt cx="6019800" cy="654441"/>
          </a:xfrm>
          <a:solidFill>
            <a:schemeClr val="bg1">
              <a:lumMod val="85000"/>
              <a:alpha val="67000"/>
            </a:schemeClr>
          </a:solidFill>
        </p:grpSpPr>
        <p:sp>
          <p:nvSpPr>
            <p:cNvPr id="27" name="Rounded Rectangle 25"/>
            <p:cNvSpPr/>
            <p:nvPr/>
          </p:nvSpPr>
          <p:spPr>
            <a:xfrm>
              <a:off x="3600000" y="5715000"/>
              <a:ext cx="625379" cy="654441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bg1"/>
                  </a:solidFill>
                </a:rPr>
                <a:t>5</a:t>
              </a:r>
              <a:endParaRPr lang="pt-PT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28" name="Rounded Rectangle 26"/>
            <p:cNvSpPr/>
            <p:nvPr/>
          </p:nvSpPr>
          <p:spPr>
            <a:xfrm>
              <a:off x="4397983" y="5715000"/>
              <a:ext cx="5221817" cy="654441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bg1"/>
                  </a:solidFill>
                </a:rPr>
                <a:t>Projectos Estruturantes</a:t>
              </a:r>
              <a:endParaRPr lang="pt-PT" sz="1600" b="1" dirty="0">
                <a:solidFill>
                  <a:schemeClr val="bg1"/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2284549" y="278466"/>
            <a:ext cx="3284875" cy="338554"/>
          </a:xfrm>
          <a:prstGeom prst="rect">
            <a:avLst/>
          </a:prstGeom>
          <a:ln w="9525"/>
        </p:spPr>
        <p:txBody>
          <a:bodyPr wrap="none" lIns="91440" tIns="45720" rIns="91440" bIns="45720" rtlCol="0"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lang="pt-PT" sz="1600" b="1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cs typeface="+mn-cs"/>
              </a:rPr>
              <a:t>Balanço do Grau de Execução</a:t>
            </a:r>
          </a:p>
        </p:txBody>
      </p:sp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9206032"/>
              </p:ext>
            </p:extLst>
          </p:nvPr>
        </p:nvGraphicFramePr>
        <p:xfrm>
          <a:off x="344384" y="961902"/>
          <a:ext cx="9369631" cy="5524303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819986"/>
                <a:gridCol w="4150830"/>
                <a:gridCol w="1294410"/>
                <a:gridCol w="1104405"/>
              </a:tblGrid>
              <a:tr h="386400"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>
                          <a:solidFill>
                            <a:schemeClr val="tx1"/>
                          </a:solidFill>
                        </a:rPr>
                        <a:t>Projecto</a:t>
                      </a:r>
                      <a:endParaRPr lang="pt-PT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>
                          <a:solidFill>
                            <a:schemeClr val="tx1"/>
                          </a:solidFill>
                        </a:rPr>
                        <a:t>Ponto Situação</a:t>
                      </a:r>
                      <a:endParaRPr lang="pt-PT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>
                          <a:solidFill>
                            <a:schemeClr val="tx1"/>
                          </a:solidFill>
                        </a:rPr>
                        <a:t>Investimento previsto (USD)</a:t>
                      </a:r>
                      <a:endParaRPr lang="pt-PT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>
                          <a:solidFill>
                            <a:schemeClr val="tx1"/>
                          </a:solidFill>
                        </a:rPr>
                        <a:t>Previsão</a:t>
                      </a:r>
                      <a:r>
                        <a:rPr lang="pt-PT" sz="1000" baseline="0" dirty="0" smtClean="0">
                          <a:solidFill>
                            <a:schemeClr val="tx1"/>
                          </a:solidFill>
                        </a:rPr>
                        <a:t> de conclusão</a:t>
                      </a:r>
                      <a:endParaRPr lang="pt-PT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490430">
                <a:tc>
                  <a:txBody>
                    <a:bodyPr/>
                    <a:lstStyle/>
                    <a:p>
                      <a:pPr algn="l"/>
                      <a:r>
                        <a:rPr lang="pt-PT" sz="900" dirty="0" smtClean="0"/>
                        <a:t>AH </a:t>
                      </a:r>
                      <a:r>
                        <a:rPr lang="pt-PT" sz="900" dirty="0" err="1" smtClean="0"/>
                        <a:t>Laúca</a:t>
                      </a:r>
                      <a:r>
                        <a:rPr lang="pt-PT" sz="900" dirty="0" smtClean="0"/>
                        <a:t> e </a:t>
                      </a:r>
                      <a:r>
                        <a:rPr lang="pt-PT" sz="900" dirty="0" err="1" smtClean="0"/>
                        <a:t>LT’s</a:t>
                      </a:r>
                      <a:r>
                        <a:rPr lang="pt-PT" sz="900" dirty="0" smtClean="0"/>
                        <a:t> associadas (2004MW + 67MW) </a:t>
                      </a:r>
                      <a:endParaRPr lang="pt-PT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28600" indent="-228600">
                        <a:buFont typeface="Arial" pitchFamily="34" charset="0"/>
                        <a:buChar char="•"/>
                      </a:pPr>
                      <a:r>
                        <a:rPr lang="pt-PT" sz="900" dirty="0" smtClean="0"/>
                        <a:t>Desvio do Rio concluído</a:t>
                      </a:r>
                    </a:p>
                    <a:p>
                      <a:pPr marL="228600" indent="-228600">
                        <a:buFont typeface="Arial" pitchFamily="34" charset="0"/>
                        <a:buChar char="•"/>
                      </a:pPr>
                      <a:r>
                        <a:rPr lang="pt-PT" sz="900" dirty="0" smtClean="0"/>
                        <a:t>Obras Civis em curso a 47,06%</a:t>
                      </a:r>
                    </a:p>
                    <a:p>
                      <a:pPr marL="228600" indent="-228600">
                        <a:buFont typeface="Arial" pitchFamily="34" charset="0"/>
                        <a:buChar char="•"/>
                      </a:pPr>
                      <a:r>
                        <a:rPr lang="pt-PT" sz="900" dirty="0" smtClean="0"/>
                        <a:t>Montagem Electromecânica</a:t>
                      </a:r>
                      <a:r>
                        <a:rPr lang="pt-PT" sz="900" baseline="0" dirty="0" smtClean="0"/>
                        <a:t> a 20,31%</a:t>
                      </a:r>
                      <a:endParaRPr lang="pt-PT" sz="9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pt-PT" sz="900" dirty="0" smtClean="0"/>
                        <a:t>4.449.489.990</a:t>
                      </a:r>
                      <a:endParaRPr lang="pt-PT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900" dirty="0" smtClean="0"/>
                        <a:t>2017</a:t>
                      </a:r>
                      <a:endParaRPr lang="pt-PT" sz="900" dirty="0"/>
                    </a:p>
                  </a:txBody>
                  <a:tcPr anchor="ctr"/>
                </a:tc>
              </a:tr>
              <a:tr h="408788">
                <a:tc>
                  <a:txBody>
                    <a:bodyPr/>
                    <a:lstStyle/>
                    <a:p>
                      <a:r>
                        <a:rPr lang="pt-PT" sz="900" dirty="0" smtClean="0"/>
                        <a:t>AH </a:t>
                      </a:r>
                      <a:r>
                        <a:rPr lang="pt-PT" sz="900" dirty="0" err="1" smtClean="0"/>
                        <a:t>Chiumbe</a:t>
                      </a:r>
                      <a:r>
                        <a:rPr lang="pt-PT" sz="900" dirty="0" smtClean="0"/>
                        <a:t> </a:t>
                      </a:r>
                      <a:r>
                        <a:rPr lang="pt-PT" sz="900" dirty="0" err="1" smtClean="0"/>
                        <a:t>Dala</a:t>
                      </a:r>
                      <a:r>
                        <a:rPr lang="pt-PT" sz="900" dirty="0" smtClean="0"/>
                        <a:t> e LT </a:t>
                      </a:r>
                      <a:r>
                        <a:rPr lang="pt-PT" sz="900" dirty="0" err="1" smtClean="0"/>
                        <a:t>Dala</a:t>
                      </a:r>
                      <a:r>
                        <a:rPr lang="pt-PT" sz="900" dirty="0" smtClean="0"/>
                        <a:t> – </a:t>
                      </a:r>
                      <a:r>
                        <a:rPr lang="pt-PT" sz="900" dirty="0" err="1" smtClean="0"/>
                        <a:t>Luena</a:t>
                      </a:r>
                      <a:r>
                        <a:rPr lang="pt-PT" sz="900" dirty="0" smtClean="0"/>
                        <a:t> (12MW)</a:t>
                      </a:r>
                      <a:endParaRPr lang="pt-PT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28600" indent="-228600">
                        <a:buFont typeface="Arial" pitchFamily="34" charset="0"/>
                        <a:buChar char="•"/>
                      </a:pPr>
                      <a:r>
                        <a:rPr lang="pt-PT" sz="900" dirty="0" smtClean="0"/>
                        <a:t>Avanço físico geral das obras do AH a 14,3%</a:t>
                      </a:r>
                    </a:p>
                    <a:p>
                      <a:pPr marL="228600" indent="-228600">
                        <a:buFont typeface="Arial" pitchFamily="34" charset="0"/>
                        <a:buChar char="•"/>
                      </a:pPr>
                      <a:r>
                        <a:rPr lang="pt-PT" sz="900" dirty="0" smtClean="0"/>
                        <a:t>Avanço físico geral da obra da LT a 12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pt-PT" sz="900" dirty="0" smtClean="0"/>
                        <a:t>102.098.145</a:t>
                      </a:r>
                      <a:endParaRPr lang="pt-PT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900" dirty="0" smtClean="0"/>
                        <a:t>2016</a:t>
                      </a:r>
                      <a:endParaRPr lang="pt-PT" sz="900" dirty="0"/>
                    </a:p>
                  </a:txBody>
                  <a:tcPr anchor="ctr"/>
                </a:tc>
              </a:tr>
              <a:tr h="490430">
                <a:tc>
                  <a:txBody>
                    <a:bodyPr/>
                    <a:lstStyle/>
                    <a:p>
                      <a:r>
                        <a:rPr lang="pt-PT" sz="9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abilitação e Reforço de Potência do A. H. de </a:t>
                      </a:r>
                      <a:r>
                        <a:rPr lang="pt-PT" sz="9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uachimo</a:t>
                      </a:r>
                      <a:r>
                        <a:rPr lang="pt-PT" sz="9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(34MW)</a:t>
                      </a:r>
                      <a:endParaRPr lang="pt-PT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28600" indent="-228600">
                        <a:buFont typeface="Arial" pitchFamily="34" charset="0"/>
                        <a:buChar char="•"/>
                      </a:pPr>
                      <a:r>
                        <a:rPr lang="pt-PT" sz="900" dirty="0" smtClean="0"/>
                        <a:t> Inicio efectivo aguarda  </a:t>
                      </a:r>
                      <a:r>
                        <a:rPr lang="pt-PT" sz="9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ela mobilização e activação do Financiamento Externo para o efeito, cuja negociação está em curso</a:t>
                      </a:r>
                      <a:endParaRPr lang="pt-PT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pt-PT" sz="900" dirty="0" smtClean="0"/>
                        <a:t>227.101.929</a:t>
                      </a:r>
                    </a:p>
                    <a:p>
                      <a:endParaRPr lang="pt-PT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900" dirty="0" smtClean="0"/>
                        <a:t>2018</a:t>
                      </a:r>
                      <a:endParaRPr lang="pt-PT" sz="900" dirty="0"/>
                    </a:p>
                  </a:txBody>
                  <a:tcPr anchor="ctr"/>
                </a:tc>
              </a:tr>
              <a:tr h="361630">
                <a:tc>
                  <a:txBody>
                    <a:bodyPr/>
                    <a:lstStyle/>
                    <a:p>
                      <a:r>
                        <a:rPr lang="pt-PT" sz="9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ubestação 60/15 kV e Redes de Média e Baixa Tensão da </a:t>
                      </a:r>
                      <a:r>
                        <a:rPr lang="pt-PT" sz="9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unda</a:t>
                      </a:r>
                      <a:r>
                        <a:rPr lang="pt-PT" sz="9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Norte</a:t>
                      </a:r>
                      <a:endParaRPr lang="pt-PT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28600" indent="-228600">
                        <a:buFont typeface="Arial" pitchFamily="34" charset="0"/>
                        <a:buChar char="•"/>
                      </a:pPr>
                      <a:r>
                        <a:rPr lang="pt-PT" sz="900" dirty="0" smtClean="0"/>
                        <a:t>Desminagem a 37%</a:t>
                      </a:r>
                    </a:p>
                    <a:p>
                      <a:pPr marL="228600" indent="-228600">
                        <a:buFont typeface="Arial" pitchFamily="34" charset="0"/>
                        <a:buChar char="•"/>
                      </a:pPr>
                      <a:r>
                        <a:rPr lang="pt-PT" sz="900" dirty="0" smtClean="0"/>
                        <a:t>Projecto</a:t>
                      </a:r>
                      <a:r>
                        <a:rPr lang="pt-PT" sz="900" baseline="0" dirty="0" smtClean="0"/>
                        <a:t> Base a 94%</a:t>
                      </a:r>
                      <a:endParaRPr lang="pt-PT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pt-PT" sz="900" dirty="0" smtClean="0"/>
                        <a:t>2.071.440</a:t>
                      </a:r>
                      <a:endParaRPr lang="pt-PT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900" dirty="0" smtClean="0"/>
                        <a:t>2017</a:t>
                      </a:r>
                      <a:endParaRPr lang="pt-PT" sz="900" dirty="0"/>
                    </a:p>
                  </a:txBody>
                  <a:tcPr anchor="ctr"/>
                </a:tc>
              </a:tr>
              <a:tr h="624184">
                <a:tc>
                  <a:txBody>
                    <a:bodyPr/>
                    <a:lstStyle/>
                    <a:p>
                      <a:r>
                        <a:rPr lang="pt-PT" sz="9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senvolvimento Hidroeléctrico do </a:t>
                      </a:r>
                      <a:r>
                        <a:rPr lang="pt-PT" sz="9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Queve</a:t>
                      </a:r>
                      <a:r>
                        <a:rPr lang="pt-PT" sz="9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– </a:t>
                      </a:r>
                      <a:r>
                        <a:rPr lang="pt-PT" sz="9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Quilengues</a:t>
                      </a:r>
                      <a:r>
                        <a:rPr lang="pt-PT" sz="9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e </a:t>
                      </a:r>
                      <a:r>
                        <a:rPr lang="pt-PT" sz="9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enga</a:t>
                      </a:r>
                      <a:endParaRPr lang="pt-PT" sz="9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9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 prevê</a:t>
                      </a:r>
                      <a:r>
                        <a:rPr lang="pt-PT" sz="9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também: </a:t>
                      </a:r>
                      <a:r>
                        <a:rPr lang="pt-PT" sz="9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aiovole</a:t>
                      </a:r>
                      <a:r>
                        <a:rPr lang="pt-PT" sz="9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pt-PT" sz="9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afula</a:t>
                      </a:r>
                      <a:r>
                        <a:rPr lang="pt-PT" sz="9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pt-PT" sz="9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enga</a:t>
                      </a:r>
                      <a:r>
                        <a:rPr lang="pt-PT" sz="9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pt-PT" sz="9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anga</a:t>
                      </a:r>
                      <a:r>
                        <a:rPr lang="pt-PT" sz="9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 e Cachoeiras da </a:t>
                      </a:r>
                      <a:r>
                        <a:rPr lang="pt-PT" sz="9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inga</a:t>
                      </a:r>
                      <a:r>
                        <a:rPr lang="pt-PT" sz="9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28600" indent="-228600">
                        <a:buFont typeface="Arial" pitchFamily="34" charset="0"/>
                        <a:buChar char="•"/>
                      </a:pPr>
                      <a:r>
                        <a:rPr lang="pt-PT" sz="900" dirty="0" smtClean="0"/>
                        <a:t>Estudo Viabilidade para </a:t>
                      </a:r>
                      <a:r>
                        <a:rPr lang="pt-PT" sz="900" dirty="0" err="1" smtClean="0"/>
                        <a:t>Quilengues</a:t>
                      </a:r>
                      <a:r>
                        <a:rPr lang="pt-PT" sz="900" dirty="0" smtClean="0"/>
                        <a:t> </a:t>
                      </a:r>
                      <a:r>
                        <a:rPr lang="pt-PT" sz="900" baseline="0" dirty="0" smtClean="0"/>
                        <a:t> a 100%, projecto Base e executivo não iniciados</a:t>
                      </a:r>
                    </a:p>
                    <a:p>
                      <a:pPr marL="228600" indent="-228600">
                        <a:buFont typeface="Arial" pitchFamily="34" charset="0"/>
                        <a:buChar char="•"/>
                      </a:pPr>
                      <a:r>
                        <a:rPr lang="pt-PT" sz="900" baseline="0" dirty="0" smtClean="0"/>
                        <a:t>Estudo Base para </a:t>
                      </a:r>
                      <a:r>
                        <a:rPr lang="pt-PT" sz="900" baseline="0" dirty="0" err="1" smtClean="0"/>
                        <a:t>Genga</a:t>
                      </a:r>
                      <a:r>
                        <a:rPr lang="pt-PT" sz="900" baseline="0" dirty="0" smtClean="0"/>
                        <a:t> a 100%, estudo viabilidade em curso, projecto executivo não iniciado</a:t>
                      </a:r>
                      <a:endParaRPr lang="pt-PT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pt-PT" sz="900" dirty="0" smtClean="0"/>
                        <a:t>N.D.</a:t>
                      </a:r>
                      <a:endParaRPr lang="pt-PT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900" dirty="0" smtClean="0"/>
                        <a:t>N.D.</a:t>
                      </a:r>
                      <a:endParaRPr lang="pt-PT" sz="900" dirty="0"/>
                    </a:p>
                  </a:txBody>
                  <a:tcPr anchor="ctr"/>
                </a:tc>
              </a:tr>
              <a:tr h="639070">
                <a:tc>
                  <a:txBody>
                    <a:bodyPr/>
                    <a:lstStyle/>
                    <a:p>
                      <a:r>
                        <a:rPr lang="pt-PT" sz="9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studos dos Futuros Aproveitamentos Hidroeléctricos do Médio </a:t>
                      </a:r>
                      <a:r>
                        <a:rPr lang="pt-PT" sz="9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wanza</a:t>
                      </a:r>
                      <a:r>
                        <a:rPr lang="pt-PT" sz="9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pt-PT" sz="9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Zenzo</a:t>
                      </a:r>
                      <a:r>
                        <a:rPr lang="pt-PT" sz="9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I, </a:t>
                      </a:r>
                      <a:r>
                        <a:rPr lang="pt-PT" sz="9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Zenzo</a:t>
                      </a:r>
                      <a:r>
                        <a:rPr lang="pt-PT" sz="9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II, Túmulo Caçador e </a:t>
                      </a:r>
                      <a:r>
                        <a:rPr lang="pt-PT" sz="9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uíme</a:t>
                      </a:r>
                      <a:r>
                        <a:rPr lang="pt-PT" sz="9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pt-PT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28600" indent="-228600">
                        <a:buFont typeface="Arial" pitchFamily="34" charset="0"/>
                        <a:buChar char="•"/>
                      </a:pPr>
                      <a:r>
                        <a:rPr lang="pt-PT" sz="900" dirty="0" smtClean="0"/>
                        <a:t>Estudos Base para </a:t>
                      </a:r>
                      <a:r>
                        <a:rPr lang="pt-PT" sz="900" dirty="0" err="1" smtClean="0"/>
                        <a:t>Zenzo</a:t>
                      </a:r>
                      <a:r>
                        <a:rPr lang="pt-PT" sz="900" dirty="0" smtClean="0"/>
                        <a:t> I e </a:t>
                      </a:r>
                      <a:r>
                        <a:rPr lang="pt-PT" sz="900" dirty="0" err="1" smtClean="0"/>
                        <a:t>Zenzo</a:t>
                      </a:r>
                      <a:r>
                        <a:rPr lang="pt-PT" sz="900" dirty="0" smtClean="0"/>
                        <a:t> II a 100% e estudo viabilidade em curso</a:t>
                      </a:r>
                    </a:p>
                    <a:p>
                      <a:pPr marL="228600" indent="-228600">
                        <a:buFont typeface="Arial" pitchFamily="34" charset="0"/>
                        <a:buChar char="•"/>
                      </a:pPr>
                      <a:r>
                        <a:rPr lang="pt-PT" sz="900" dirty="0" smtClean="0"/>
                        <a:t>Estudos Base  Túmulo Caçador e </a:t>
                      </a:r>
                      <a:r>
                        <a:rPr lang="pt-PT" sz="900" dirty="0" err="1" smtClean="0"/>
                        <a:t>Luíme</a:t>
                      </a:r>
                      <a:r>
                        <a:rPr lang="pt-PT" sz="900" dirty="0" smtClean="0"/>
                        <a:t> a 100% e estudos de viabilidade não iniciados</a:t>
                      </a:r>
                      <a:endParaRPr lang="pt-PT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pt-PT" sz="900" dirty="0" smtClean="0"/>
                        <a:t>N.D.</a:t>
                      </a:r>
                      <a:endParaRPr lang="pt-PT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900" dirty="0" smtClean="0"/>
                        <a:t>N.D.</a:t>
                      </a:r>
                      <a:endParaRPr lang="pt-PT" sz="900" dirty="0"/>
                    </a:p>
                  </a:txBody>
                  <a:tcPr anchor="ctr"/>
                </a:tc>
              </a:tr>
              <a:tr h="334285">
                <a:tc>
                  <a:txBody>
                    <a:bodyPr/>
                    <a:lstStyle/>
                    <a:p>
                      <a:r>
                        <a:rPr lang="pt-PT" sz="9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 H de </a:t>
                      </a:r>
                      <a:r>
                        <a:rPr lang="pt-PT" sz="9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aculo</a:t>
                      </a:r>
                      <a:r>
                        <a:rPr lang="pt-PT" sz="9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Cabaça  (2120MW + 52MW)</a:t>
                      </a:r>
                      <a:endParaRPr lang="pt-PT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28600" indent="-228600">
                        <a:buFont typeface="Arial" pitchFamily="34" charset="0"/>
                        <a:buChar char="•"/>
                      </a:pPr>
                      <a:r>
                        <a:rPr lang="pt-PT" sz="900" dirty="0" smtClean="0"/>
                        <a:t>Estudo  de viabilidade e projecto base a 10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pt-PT" sz="900" dirty="0" smtClean="0"/>
                        <a:t>4.536.894.38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900" dirty="0" smtClean="0"/>
                        <a:t>2022</a:t>
                      </a:r>
                    </a:p>
                  </a:txBody>
                  <a:tcPr anchor="ctr"/>
                </a:tc>
              </a:tr>
              <a:tr h="361630">
                <a:tc>
                  <a:txBody>
                    <a:bodyPr/>
                    <a:lstStyle/>
                    <a:p>
                      <a:r>
                        <a:rPr lang="pt-PT" sz="9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H de </a:t>
                      </a:r>
                      <a:r>
                        <a:rPr lang="pt-PT" sz="9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hicapa</a:t>
                      </a:r>
                      <a:r>
                        <a:rPr lang="pt-PT" sz="9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II </a:t>
                      </a:r>
                      <a:endParaRPr lang="pt-PT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28600" indent="-228600">
                        <a:buFont typeface="Arial" pitchFamily="34" charset="0"/>
                        <a:buChar char="•"/>
                      </a:pPr>
                      <a:r>
                        <a:rPr lang="pt-PT" sz="900" dirty="0" smtClean="0"/>
                        <a:t>Estudo  de viabilidade a 100%, projecto Base em fase preparatóri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pt-PT" sz="900" dirty="0" smtClean="0"/>
                        <a:t>N.D.</a:t>
                      </a:r>
                      <a:endParaRPr lang="pt-PT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900" dirty="0" smtClean="0"/>
                        <a:t>N.D.</a:t>
                      </a:r>
                      <a:endParaRPr lang="pt-PT" sz="900" dirty="0"/>
                    </a:p>
                  </a:txBody>
                  <a:tcPr anchor="ctr"/>
                </a:tc>
              </a:tr>
              <a:tr h="361630">
                <a:tc>
                  <a:txBody>
                    <a:bodyPr/>
                    <a:lstStyle/>
                    <a:p>
                      <a:r>
                        <a:rPr lang="pt-PT" sz="9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proveitamento Hidroeléctrico de </a:t>
                      </a:r>
                      <a:r>
                        <a:rPr lang="pt-PT" sz="9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ambambe</a:t>
                      </a:r>
                      <a:r>
                        <a:rPr lang="pt-PT" sz="9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– </a:t>
                      </a:r>
                      <a:r>
                        <a:rPr lang="pt-PT" sz="9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lteamento</a:t>
                      </a:r>
                      <a:r>
                        <a:rPr lang="pt-PT" sz="9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e Central 2 (80 MW + 700 MW)</a:t>
                      </a:r>
                      <a:endParaRPr lang="pt-PT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28600" indent="-228600">
                        <a:buFont typeface="Arial" pitchFamily="34" charset="0"/>
                        <a:buChar char="•"/>
                      </a:pPr>
                      <a:r>
                        <a:rPr lang="pt-PT" sz="900" dirty="0" smtClean="0"/>
                        <a:t>Avanço  global físico está a 72,74%</a:t>
                      </a:r>
                    </a:p>
                    <a:p>
                      <a:pPr marL="228600" indent="-228600">
                        <a:buFont typeface="Arial" pitchFamily="34" charset="0"/>
                        <a:buChar char="•"/>
                      </a:pPr>
                      <a:r>
                        <a:rPr lang="pt-PT" sz="900" dirty="0" smtClean="0"/>
                        <a:t>Avanço físico global da SE  60/220/400</a:t>
                      </a:r>
                      <a:r>
                        <a:rPr lang="pt-PT" sz="900" baseline="0" dirty="0" smtClean="0"/>
                        <a:t> está a 83,99%</a:t>
                      </a:r>
                      <a:endParaRPr lang="pt-PT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pt-PT" sz="900" dirty="0" smtClean="0"/>
                        <a:t>1.448.283.803</a:t>
                      </a:r>
                      <a:endParaRPr lang="pt-PT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900" dirty="0" smtClean="0"/>
                        <a:t>2016</a:t>
                      </a:r>
                      <a:endParaRPr lang="pt-PT" sz="900" dirty="0"/>
                    </a:p>
                  </a:txBody>
                  <a:tcPr anchor="ctr"/>
                </a:tc>
              </a:tr>
              <a:tr h="624184">
                <a:tc>
                  <a:txBody>
                    <a:bodyPr/>
                    <a:lstStyle/>
                    <a:p>
                      <a:r>
                        <a:rPr lang="pt-PT" sz="9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entral de Ciclo Combinado do </a:t>
                      </a:r>
                      <a:r>
                        <a:rPr lang="pt-PT" sz="9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oyo</a:t>
                      </a:r>
                      <a:r>
                        <a:rPr lang="pt-PT" sz="9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e </a:t>
                      </a:r>
                      <a:r>
                        <a:rPr lang="pt-PT" sz="9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T´s</a:t>
                      </a:r>
                      <a:r>
                        <a:rPr lang="pt-PT" sz="9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ssociadas  (500MW + 250MW)</a:t>
                      </a:r>
                      <a:endParaRPr lang="pt-PT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28600" indent="-228600">
                        <a:buFont typeface="Arial" pitchFamily="34" charset="0"/>
                        <a:buChar char="•"/>
                      </a:pPr>
                      <a:r>
                        <a:rPr lang="pt-PT" sz="900" dirty="0" smtClean="0"/>
                        <a:t>Sistema de Transporte está com</a:t>
                      </a:r>
                      <a:r>
                        <a:rPr lang="pt-PT" sz="900" baseline="0" dirty="0" smtClean="0"/>
                        <a:t> avanço físico  de 33,19%</a:t>
                      </a:r>
                    </a:p>
                    <a:p>
                      <a:pPr marL="228600" indent="-228600">
                        <a:buFont typeface="Arial" pitchFamily="34" charset="0"/>
                        <a:buChar char="•"/>
                      </a:pPr>
                      <a:r>
                        <a:rPr lang="pt-PT" sz="900" baseline="0" dirty="0" smtClean="0"/>
                        <a:t>CCC </a:t>
                      </a:r>
                      <a:r>
                        <a:rPr lang="pt-PT" sz="900" baseline="0" dirty="0" err="1" smtClean="0"/>
                        <a:t>Soyo</a:t>
                      </a:r>
                      <a:r>
                        <a:rPr lang="pt-PT" sz="900" baseline="0" dirty="0" smtClean="0"/>
                        <a:t> I tem o projecto preliminar  em curso e a construção de estaleiro a 50%</a:t>
                      </a:r>
                    </a:p>
                    <a:p>
                      <a:pPr marL="228600" indent="-228600">
                        <a:buFont typeface="Arial" pitchFamily="34" charset="0"/>
                        <a:buChar char="•"/>
                      </a:pPr>
                      <a:r>
                        <a:rPr lang="pt-PT" sz="900" baseline="0" dirty="0" smtClean="0"/>
                        <a:t>Estudo Impacto Ambiental </a:t>
                      </a:r>
                      <a:r>
                        <a:rPr lang="pt-PT" sz="900" baseline="0" dirty="0" err="1" smtClean="0"/>
                        <a:t>Soyo</a:t>
                      </a:r>
                      <a:r>
                        <a:rPr lang="pt-PT" sz="900" baseline="0" dirty="0" smtClean="0"/>
                        <a:t> II em  elaboração</a:t>
                      </a:r>
                      <a:endParaRPr lang="pt-PT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pt-PT" sz="900" dirty="0" smtClean="0"/>
                        <a:t>2.790.271.429</a:t>
                      </a:r>
                      <a:endParaRPr lang="pt-PT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900" dirty="0" smtClean="0"/>
                        <a:t>2017 a 2018</a:t>
                      </a:r>
                      <a:endParaRPr lang="pt-PT" sz="900" dirty="0"/>
                    </a:p>
                  </a:txBody>
                  <a:tcPr anchor="ctr"/>
                </a:tc>
              </a:tr>
              <a:tr h="308930">
                <a:tc>
                  <a:txBody>
                    <a:bodyPr/>
                    <a:lstStyle/>
                    <a:p>
                      <a:pPr algn="l"/>
                      <a:r>
                        <a:rPr lang="pt-PT" sz="900" dirty="0" smtClean="0"/>
                        <a:t>A.H. </a:t>
                      </a:r>
                      <a:r>
                        <a:rPr lang="pt-PT" sz="900" dirty="0" err="1" smtClean="0"/>
                        <a:t>Baynes</a:t>
                      </a:r>
                      <a:r>
                        <a:rPr lang="pt-PT" sz="900" dirty="0" smtClean="0"/>
                        <a:t> (300MW + 300MW)</a:t>
                      </a:r>
                      <a:endParaRPr lang="pt-PT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28600" indent="-228600" algn="l">
                        <a:buFont typeface="Arial" pitchFamily="34" charset="0"/>
                        <a:buChar char="•"/>
                      </a:pPr>
                      <a:r>
                        <a:rPr lang="pt-PT" sz="900" dirty="0" smtClean="0"/>
                        <a:t>Estudo  de viabilidade de construção das linhas de Transporte a 100%</a:t>
                      </a:r>
                      <a:endParaRPr lang="pt-PT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pt-PT" sz="900" dirty="0" smtClean="0"/>
                        <a:t>N.D</a:t>
                      </a:r>
                      <a:endParaRPr lang="pt-PT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900" dirty="0" smtClean="0"/>
                        <a:t>N.D.</a:t>
                      </a:r>
                      <a:endParaRPr lang="pt-PT" sz="900" dirty="0"/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4" name="Rounded Rectangle 26"/>
          <p:cNvSpPr/>
          <p:nvPr/>
        </p:nvSpPr>
        <p:spPr>
          <a:xfrm>
            <a:off x="7199504" y="197691"/>
            <a:ext cx="2455125" cy="471989"/>
          </a:xfrm>
          <a:prstGeom prst="roundRect">
            <a:avLst/>
          </a:prstGeom>
          <a:solidFill>
            <a:schemeClr val="bg1">
              <a:lumMod val="85000"/>
              <a:alpha val="67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Ins="36000" rtlCol="0" anchor="ctr"/>
          <a:lstStyle/>
          <a:p>
            <a:r>
              <a:rPr lang="pt-PT" sz="1600" b="1" dirty="0" smtClean="0">
                <a:solidFill>
                  <a:schemeClr val="tx1"/>
                </a:solidFill>
              </a:rPr>
              <a:t>Projectos Estruturantes</a:t>
            </a:r>
            <a:endParaRPr lang="pt-PT" sz="1600" b="1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4" name="Picture 2" descr="http://www.blue-sol.com/energia-solar/wp-content/uploads/2014/06/2564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239" y="2806"/>
            <a:ext cx="9901761" cy="6855193"/>
          </a:xfrm>
          <a:prstGeom prst="rect">
            <a:avLst/>
          </a:prstGeom>
          <a:noFill/>
        </p:spPr>
      </p:pic>
      <p:pic>
        <p:nvPicPr>
          <p:cNvPr id="5" name="Picture 1970" descr="C:\Users\patricia.m.loureiro\AppData\Local\Microsoft\Windows\Temporary Internet Files\Content.Outlook\YYF1YN1Y\insignia_large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3384" y="63053"/>
            <a:ext cx="780696" cy="770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>
          <a:xfrm>
            <a:off x="2104638" y="1011194"/>
            <a:ext cx="6019800" cy="1745670"/>
            <a:chOff x="3581400" y="2438400"/>
            <a:chExt cx="6019800" cy="2420476"/>
          </a:xfrm>
          <a:solidFill>
            <a:schemeClr val="bg1">
              <a:lumMod val="85000"/>
              <a:alpha val="67000"/>
            </a:schemeClr>
          </a:solidFill>
        </p:grpSpPr>
        <p:sp>
          <p:nvSpPr>
            <p:cNvPr id="7" name="Rounded Rectangle 11"/>
            <p:cNvSpPr/>
            <p:nvPr/>
          </p:nvSpPr>
          <p:spPr>
            <a:xfrm>
              <a:off x="3581400" y="2438400"/>
              <a:ext cx="625379" cy="677747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1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8" name="Rounded Rectangle 12"/>
            <p:cNvSpPr/>
            <p:nvPr/>
          </p:nvSpPr>
          <p:spPr>
            <a:xfrm>
              <a:off x="4379383" y="2438400"/>
              <a:ext cx="5221817" cy="677747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Introdução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9" name="Rounded Rectangle 18"/>
            <p:cNvSpPr/>
            <p:nvPr/>
          </p:nvSpPr>
          <p:spPr>
            <a:xfrm>
              <a:off x="3581400" y="3293621"/>
              <a:ext cx="625379" cy="672374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2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0" name="Rounded Rectangle 19"/>
            <p:cNvSpPr/>
            <p:nvPr/>
          </p:nvSpPr>
          <p:spPr>
            <a:xfrm>
              <a:off x="4379383" y="3293621"/>
              <a:ext cx="5221817" cy="672374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Produção de Energia Eléctrica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1" name="Rounded Rectangle 8"/>
            <p:cNvSpPr/>
            <p:nvPr/>
          </p:nvSpPr>
          <p:spPr>
            <a:xfrm>
              <a:off x="3581400" y="4202967"/>
              <a:ext cx="625379" cy="655909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3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2" name="Rounded Rectangle 9"/>
            <p:cNvSpPr/>
            <p:nvPr/>
          </p:nvSpPr>
          <p:spPr>
            <a:xfrm>
              <a:off x="4379383" y="4159935"/>
              <a:ext cx="5221817" cy="655909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Transporte de Energia Eléctrica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3" name="Group 24"/>
          <p:cNvGrpSpPr/>
          <p:nvPr/>
        </p:nvGrpSpPr>
        <p:grpSpPr>
          <a:xfrm>
            <a:off x="2104638" y="2873831"/>
            <a:ext cx="6019800" cy="471989"/>
            <a:chOff x="3600000" y="5715000"/>
            <a:chExt cx="6019800" cy="654441"/>
          </a:xfrm>
          <a:solidFill>
            <a:schemeClr val="bg1">
              <a:lumMod val="85000"/>
              <a:alpha val="67000"/>
            </a:schemeClr>
          </a:solidFill>
        </p:grpSpPr>
        <p:sp>
          <p:nvSpPr>
            <p:cNvPr id="14" name="Rounded Rectangle 25"/>
            <p:cNvSpPr/>
            <p:nvPr/>
          </p:nvSpPr>
          <p:spPr>
            <a:xfrm>
              <a:off x="3600000" y="5715000"/>
              <a:ext cx="625379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4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5" name="Rounded Rectangle 26"/>
            <p:cNvSpPr/>
            <p:nvPr/>
          </p:nvSpPr>
          <p:spPr>
            <a:xfrm>
              <a:off x="4397983" y="5715000"/>
              <a:ext cx="5221817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Distribuição de Energia Eléctrica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16" name="TextBox 1"/>
          <p:cNvSpPr txBox="1"/>
          <p:nvPr/>
        </p:nvSpPr>
        <p:spPr>
          <a:xfrm>
            <a:off x="1887258" y="424339"/>
            <a:ext cx="1664002" cy="425758"/>
          </a:xfrm>
          <a:prstGeom prst="rect">
            <a:avLst/>
          </a:prstGeom>
        </p:spPr>
        <p:txBody>
          <a:bodyPr wrap="square" lIns="0" anchor="b">
            <a:spAutoFit/>
          </a:bodyPr>
          <a:lstStyle>
            <a:lvl1pPr eaLnBrk="1" hangingPunct="1">
              <a:lnSpc>
                <a:spcPts val="2600"/>
              </a:lnSpc>
              <a:buFont typeface="Arial" charset="0"/>
              <a:defRPr sz="2000" b="1" spc="0" baseline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1pPr>
            <a:lvl2pPr eaLnBrk="1" hangingPunct="1">
              <a:lnSpc>
                <a:spcPts val="2600"/>
              </a:lnSpc>
              <a:buFont typeface="Arial" charset="0"/>
              <a:defRPr sz="2400"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eaLnBrk="1" hangingPunct="1">
              <a:lnSpc>
                <a:spcPts val="2600"/>
              </a:lnSpc>
              <a:buFont typeface="Arial" charset="0"/>
              <a:defRPr sz="2400"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eaLnBrk="1" hangingPunct="1">
              <a:lnSpc>
                <a:spcPts val="2600"/>
              </a:lnSpc>
              <a:buFont typeface="Arial" charset="0"/>
              <a:defRPr sz="2400"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eaLnBrk="1" hangingPunct="1">
              <a:lnSpc>
                <a:spcPts val="2600"/>
              </a:lnSpc>
              <a:buFont typeface="Arial" charset="0"/>
              <a:defRPr sz="2400"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pPr lvl="0" algn="ctr"/>
            <a:r>
              <a:rPr lang="en-US" sz="2400" baseline="0" dirty="0" smtClean="0">
                <a:solidFill>
                  <a:srgbClr val="FFCC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genda</a:t>
            </a:r>
            <a:endParaRPr lang="en-US" sz="2400" baseline="0" dirty="0">
              <a:solidFill>
                <a:srgbClr val="FFCC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4" name="Group 24"/>
          <p:cNvGrpSpPr/>
          <p:nvPr/>
        </p:nvGrpSpPr>
        <p:grpSpPr>
          <a:xfrm>
            <a:off x="2117184" y="4112151"/>
            <a:ext cx="6019800" cy="471989"/>
            <a:chOff x="3600000" y="5715000"/>
            <a:chExt cx="6019800" cy="654441"/>
          </a:xfrm>
          <a:solidFill>
            <a:schemeClr val="bg1">
              <a:lumMod val="85000"/>
              <a:alpha val="67000"/>
            </a:schemeClr>
          </a:solidFill>
        </p:grpSpPr>
        <p:sp>
          <p:nvSpPr>
            <p:cNvPr id="18" name="Rounded Rectangle 25"/>
            <p:cNvSpPr/>
            <p:nvPr/>
          </p:nvSpPr>
          <p:spPr>
            <a:xfrm>
              <a:off x="3600000" y="5715000"/>
              <a:ext cx="625379" cy="654441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bg1"/>
                  </a:solidFill>
                </a:rPr>
                <a:t>6</a:t>
              </a:r>
              <a:endParaRPr lang="pt-PT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9" name="Rounded Rectangle 26"/>
            <p:cNvSpPr/>
            <p:nvPr/>
          </p:nvSpPr>
          <p:spPr>
            <a:xfrm>
              <a:off x="4397983" y="5715000"/>
              <a:ext cx="5221817" cy="654441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bg1"/>
                  </a:solidFill>
                </a:rPr>
                <a:t>Energias Renováveis</a:t>
              </a:r>
              <a:endParaRPr lang="pt-PT" sz="16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6" name="Group 24"/>
          <p:cNvGrpSpPr/>
          <p:nvPr/>
        </p:nvGrpSpPr>
        <p:grpSpPr>
          <a:xfrm>
            <a:off x="2138700" y="4734586"/>
            <a:ext cx="6019800" cy="471989"/>
            <a:chOff x="3600000" y="5715000"/>
            <a:chExt cx="6019800" cy="654441"/>
          </a:xfrm>
          <a:solidFill>
            <a:schemeClr val="bg1">
              <a:lumMod val="85000"/>
              <a:alpha val="67000"/>
            </a:schemeClr>
          </a:solidFill>
        </p:grpSpPr>
        <p:sp>
          <p:nvSpPr>
            <p:cNvPr id="21" name="Rounded Rectangle 25"/>
            <p:cNvSpPr/>
            <p:nvPr/>
          </p:nvSpPr>
          <p:spPr>
            <a:xfrm>
              <a:off x="3600000" y="5715000"/>
              <a:ext cx="625379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7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22" name="Rounded Rectangle 26"/>
            <p:cNvSpPr/>
            <p:nvPr/>
          </p:nvSpPr>
          <p:spPr>
            <a:xfrm>
              <a:off x="4397983" y="5715000"/>
              <a:ext cx="5221817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Electrificação Rural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3" name="Group 24"/>
          <p:cNvGrpSpPr/>
          <p:nvPr/>
        </p:nvGrpSpPr>
        <p:grpSpPr>
          <a:xfrm>
            <a:off x="2151246" y="5335059"/>
            <a:ext cx="6019800" cy="471989"/>
            <a:chOff x="3600000" y="5715000"/>
            <a:chExt cx="6019800" cy="654441"/>
          </a:xfrm>
          <a:solidFill>
            <a:schemeClr val="bg1">
              <a:lumMod val="85000"/>
              <a:alpha val="67000"/>
            </a:schemeClr>
          </a:solidFill>
        </p:grpSpPr>
        <p:sp>
          <p:nvSpPr>
            <p:cNvPr id="24" name="Rounded Rectangle 25"/>
            <p:cNvSpPr/>
            <p:nvPr/>
          </p:nvSpPr>
          <p:spPr>
            <a:xfrm>
              <a:off x="3600000" y="5715000"/>
              <a:ext cx="625379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8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25" name="Rounded Rectangle 26"/>
            <p:cNvSpPr/>
            <p:nvPr/>
          </p:nvSpPr>
          <p:spPr>
            <a:xfrm>
              <a:off x="4397983" y="5715000"/>
              <a:ext cx="5221817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Licenciamento e Fiscalização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7" name="Group 24"/>
          <p:cNvGrpSpPr/>
          <p:nvPr/>
        </p:nvGrpSpPr>
        <p:grpSpPr>
          <a:xfrm>
            <a:off x="2102663" y="3489356"/>
            <a:ext cx="6019800" cy="471989"/>
            <a:chOff x="3600000" y="5715000"/>
            <a:chExt cx="6019800" cy="654441"/>
          </a:xfrm>
          <a:solidFill>
            <a:schemeClr val="bg1">
              <a:lumMod val="85000"/>
              <a:alpha val="67000"/>
            </a:schemeClr>
          </a:solidFill>
        </p:grpSpPr>
        <p:sp>
          <p:nvSpPr>
            <p:cNvPr id="27" name="Rounded Rectangle 25"/>
            <p:cNvSpPr/>
            <p:nvPr/>
          </p:nvSpPr>
          <p:spPr>
            <a:xfrm>
              <a:off x="3600000" y="5715000"/>
              <a:ext cx="625379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5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28" name="Rounded Rectangle 26"/>
            <p:cNvSpPr/>
            <p:nvPr/>
          </p:nvSpPr>
          <p:spPr>
            <a:xfrm>
              <a:off x="4397983" y="5715000"/>
              <a:ext cx="5221817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Projectos Estruturantes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2910866"/>
              </p:ext>
            </p:extLst>
          </p:nvPr>
        </p:nvGraphicFramePr>
        <p:xfrm>
          <a:off x="502224" y="2070099"/>
          <a:ext cx="8763001" cy="2067279"/>
        </p:xfrm>
        <a:graphic>
          <a:graphicData uri="http://schemas.openxmlformats.org/drawingml/2006/table">
            <a:tbl>
              <a:tblPr/>
              <a:tblGrid>
                <a:gridCol w="365406"/>
                <a:gridCol w="923306"/>
                <a:gridCol w="792077"/>
                <a:gridCol w="1502228"/>
                <a:gridCol w="933816"/>
                <a:gridCol w="639463"/>
                <a:gridCol w="1190957"/>
                <a:gridCol w="883068"/>
                <a:gridCol w="883068"/>
                <a:gridCol w="649612"/>
              </a:tblGrid>
              <a:tr h="177892">
                <a:tc gridSpan="4">
                  <a:txBody>
                    <a:bodyPr/>
                    <a:lstStyle/>
                    <a:p>
                      <a:pPr algn="l" fontAlgn="b"/>
                      <a:r>
                        <a:rPr lang="pt-PT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GRAMA ALDEIA SOLAR - FASE </a:t>
                      </a:r>
                      <a:r>
                        <a:rPr lang="pt-PT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(2011 – 2013)</a:t>
                      </a:r>
                      <a:endParaRPr lang="pt-PT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pt-P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P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P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PT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P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P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77892">
                <a:tc>
                  <a:txBody>
                    <a:bodyPr/>
                    <a:lstStyle/>
                    <a:p>
                      <a:pPr algn="l" fontAlgn="b"/>
                      <a:endParaRPr lang="pt-P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P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P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P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P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P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P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P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P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P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268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P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TE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P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VÍNCI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P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º  SISTEMA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P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OTÊNCIA TOTAL [W</a:t>
                      </a:r>
                      <a:r>
                        <a:rPr lang="pt-PT" sz="1000" b="1" i="0" u="none" strike="noStrike" baseline="-25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</a:t>
                      </a:r>
                      <a:r>
                        <a:rPr lang="pt-P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]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P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OCALIDADE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pt-P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FRA-ESTRUTURAS BENEFICIADA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</a:tr>
              <a:tr h="248135"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SCOLA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OSTOS MÉDICO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SQ. POLÍCI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SIDÊNCIA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.PÚBLIC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</a:tr>
              <a:tr h="248135"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PT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ié</a:t>
                      </a:r>
                      <a:endParaRPr lang="pt-PT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.1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8135"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. </a:t>
                      </a:r>
                      <a:r>
                        <a:rPr lang="pt-PT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ubango</a:t>
                      </a:r>
                      <a:endParaRPr lang="pt-PT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0.2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8135"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lanj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.7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8135"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PT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oxico</a:t>
                      </a:r>
                      <a:endParaRPr lang="pt-PT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8.6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8135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pt-P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TA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6.6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" name="Tabe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0677733"/>
              </p:ext>
            </p:extLst>
          </p:nvPr>
        </p:nvGraphicFramePr>
        <p:xfrm>
          <a:off x="502224" y="4321553"/>
          <a:ext cx="8763000" cy="2180665"/>
        </p:xfrm>
        <a:graphic>
          <a:graphicData uri="http://schemas.openxmlformats.org/drawingml/2006/table">
            <a:tbl>
              <a:tblPr/>
              <a:tblGrid>
                <a:gridCol w="365407"/>
                <a:gridCol w="812016"/>
                <a:gridCol w="903367"/>
                <a:gridCol w="1502228"/>
                <a:gridCol w="933817"/>
                <a:gridCol w="639463"/>
                <a:gridCol w="1190956"/>
                <a:gridCol w="883067"/>
                <a:gridCol w="883067"/>
                <a:gridCol w="649612"/>
              </a:tblGrid>
              <a:tr h="187660">
                <a:tc gridSpan="4">
                  <a:txBody>
                    <a:bodyPr/>
                    <a:lstStyle/>
                    <a:p>
                      <a:pPr algn="l" fontAlgn="b"/>
                      <a:r>
                        <a:rPr lang="pt-PT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GRAMA ALDEIA SOLAR - FASE </a:t>
                      </a:r>
                      <a:r>
                        <a:rPr lang="pt-PT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(2012</a:t>
                      </a:r>
                      <a:r>
                        <a:rPr lang="pt-PT" sz="11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– 2015)</a:t>
                      </a:r>
                      <a:endParaRPr lang="pt-PT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pt-PT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PT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PT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PT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PT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PT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7660">
                <a:tc>
                  <a:txBody>
                    <a:bodyPr/>
                    <a:lstStyle/>
                    <a:p>
                      <a:pPr algn="l" fontAlgn="b"/>
                      <a:endParaRPr lang="pt-P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P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P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P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P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P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P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P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P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P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449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P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TE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P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VÍNCI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P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º  SISTEMA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P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OTÊNCIA TOTAL [W</a:t>
                      </a:r>
                      <a:r>
                        <a:rPr lang="pt-PT" sz="1000" b="1" i="0" u="none" strike="noStrike" baseline="-25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</a:t>
                      </a:r>
                      <a:r>
                        <a:rPr lang="pt-P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]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P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OCALIDADE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pt-P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FRA-ESTRUTURAS BENEFICIADA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</a:tr>
              <a:tr h="248242"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P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SCOLA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P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OSTOS MÉDICO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P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SQ. POLÍCI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P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SIDÊNCIA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P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.PÚBLIC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</a:tr>
              <a:tr h="248242"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PT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unene</a:t>
                      </a:r>
                      <a:endParaRPr lang="pt-PT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.00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8242"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PT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uíl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4.24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9638"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PT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unda Nort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.49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8242"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PT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Zair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2.41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8242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pt-PT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TAL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9.14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</a:tr>
            </a:tbl>
          </a:graphicData>
        </a:graphic>
      </p:graphicFrame>
      <p:sp>
        <p:nvSpPr>
          <p:cNvPr id="6" name="CaixaDeTexto 5"/>
          <p:cNvSpPr txBox="1"/>
          <p:nvPr/>
        </p:nvSpPr>
        <p:spPr>
          <a:xfrm>
            <a:off x="3273744" y="268941"/>
            <a:ext cx="2279791" cy="338554"/>
          </a:xfrm>
          <a:prstGeom prst="rect">
            <a:avLst/>
          </a:prstGeom>
          <a:ln w="9525"/>
        </p:spPr>
        <p:txBody>
          <a:bodyPr wrap="none" lIns="91440" tIns="45720" rIns="91440" bIns="4572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lang="pt-PT" sz="1600" b="1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cs typeface="+mn-cs"/>
              </a:rPr>
              <a:t>Projectos Concluídos</a:t>
            </a:r>
            <a:endParaRPr kumimoji="0" lang="pt-PT" sz="1600" b="1" i="0" u="none" strike="noStrike" kern="1200" cap="none" spc="0" normalizeH="0" baseline="0" noProof="0" dirty="0" smtClean="0">
              <a:ln>
                <a:noFill/>
              </a:ln>
              <a:solidFill>
                <a:schemeClr val="accent6">
                  <a:lumMod val="60000"/>
                  <a:lumOff val="4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Rounded Rectangle 26"/>
          <p:cNvSpPr/>
          <p:nvPr/>
        </p:nvSpPr>
        <p:spPr>
          <a:xfrm>
            <a:off x="7297135" y="197691"/>
            <a:ext cx="2357477" cy="471989"/>
          </a:xfrm>
          <a:prstGeom prst="roundRect">
            <a:avLst/>
          </a:prstGeom>
          <a:solidFill>
            <a:schemeClr val="bg1">
              <a:lumMod val="85000"/>
              <a:alpha val="67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Ins="36000" rtlCol="0" anchor="ctr"/>
          <a:lstStyle/>
          <a:p>
            <a:r>
              <a:rPr lang="pt-PT" sz="1600" b="1" dirty="0" smtClean="0">
                <a:solidFill>
                  <a:schemeClr val="tx1"/>
                </a:solidFill>
              </a:rPr>
              <a:t>Energias Renováveis</a:t>
            </a:r>
            <a:endParaRPr lang="pt-PT" sz="1600" b="1" dirty="0">
              <a:solidFill>
                <a:schemeClr val="tx1"/>
              </a:solidFill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647700" y="1282700"/>
            <a:ext cx="8801100" cy="461665"/>
          </a:xfrm>
          <a:prstGeom prst="rect">
            <a:avLst/>
          </a:prstGeom>
          <a:ln w="9525"/>
        </p:spPr>
        <p:txBody>
          <a:bodyPr wrap="square" lIns="91440" tIns="45720" rIns="91440" bIns="4572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pt-PT" sz="12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O Programa</a:t>
            </a:r>
            <a:r>
              <a:rPr kumimoji="0" lang="pt-PT" sz="1200" b="1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 Aldeia Solar constitui uma solução intermédia que presta um serviço moderno de fornecimento de energia eléctrica às </a:t>
            </a:r>
            <a:r>
              <a:rPr kumimoji="0" lang="pt-PT" sz="1200" b="1" i="0" u="none" strike="noStrike" kern="1200" cap="none" spc="0" normalizeH="0" noProof="0" dirty="0" err="1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infraestruturas</a:t>
            </a:r>
            <a:r>
              <a:rPr kumimoji="0" lang="pt-PT" sz="1200" b="1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 comunitárias</a:t>
            </a:r>
            <a:endParaRPr kumimoji="0" lang="pt-PT" sz="1200" b="1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Rectângulo arredondado 4"/>
          <p:cNvSpPr/>
          <p:nvPr/>
        </p:nvSpPr>
        <p:spPr bwMode="gray">
          <a:xfrm>
            <a:off x="495300" y="1193800"/>
            <a:ext cx="8668324" cy="660400"/>
          </a:xfrm>
          <a:prstGeom prst="roundRect">
            <a:avLst/>
          </a:prstGeom>
          <a:noFill/>
          <a:ln w="6350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88900" indent="-88900" algn="just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</a:pPr>
            <a:endParaRPr lang="pt-PT" sz="1000" kern="0" dirty="0" smtClean="0">
              <a:solidFill>
                <a:sysClr val="windowText" lastClr="000000"/>
              </a:solidFill>
              <a:latin typeface="+mj-lt"/>
              <a:cs typeface="Arial" pitchFamily="34" charset="0"/>
            </a:endParaRPr>
          </a:p>
        </p:txBody>
      </p:sp>
    </p:spTree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e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9628113"/>
              </p:ext>
            </p:extLst>
          </p:nvPr>
        </p:nvGraphicFramePr>
        <p:xfrm>
          <a:off x="1045031" y="1241081"/>
          <a:ext cx="7695208" cy="1763376"/>
        </p:xfrm>
        <a:graphic>
          <a:graphicData uri="http://schemas.openxmlformats.org/drawingml/2006/table">
            <a:tbl>
              <a:tblPr/>
              <a:tblGrid>
                <a:gridCol w="388174"/>
                <a:gridCol w="1272351"/>
                <a:gridCol w="1692874"/>
                <a:gridCol w="1035133"/>
                <a:gridCol w="1682091"/>
                <a:gridCol w="1624585"/>
              </a:tblGrid>
              <a:tr h="190500">
                <a:tc gridSpan="3">
                  <a:txBody>
                    <a:bodyPr/>
                    <a:lstStyle/>
                    <a:p>
                      <a:pPr algn="l" fontAlgn="b"/>
                      <a:r>
                        <a:rPr lang="pt-PT" sz="1100" b="1" i="0" u="none" strike="noStrike" dirty="0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  <a:effectLst/>
                          <a:latin typeface="+mn-lt"/>
                        </a:rPr>
                        <a:t>PROGRAMA ALDEIA SOLAR - FASE 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pt-PT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PT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PT" sz="11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00336">
                <a:tc>
                  <a:txBody>
                    <a:bodyPr/>
                    <a:lstStyle/>
                    <a:p>
                      <a:pPr algn="l" fontAlgn="b"/>
                      <a:endParaRPr lang="pt-P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P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PT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P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P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PT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000"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TE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VINCI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ITS FOTOVOLTÁICO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LUNAS IP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STALAÇÃO ELÉCTRIC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AIXADAS DE LIGAÇÃ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PT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wanza</a:t>
                      </a:r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Su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7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PT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uando</a:t>
                      </a:r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pt-PT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ubango</a:t>
                      </a:r>
                      <a:endParaRPr lang="pt-PT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PT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unda</a:t>
                      </a:r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Su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1711">
                <a:tc gridSpan="2">
                  <a:txBody>
                    <a:bodyPr/>
                    <a:lstStyle/>
                    <a:p>
                      <a:pPr algn="r" fontAlgn="b"/>
                      <a:r>
                        <a:rPr lang="pt-P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TAL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7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</a:tr>
            </a:tbl>
          </a:graphicData>
        </a:graphic>
      </p:graphicFrame>
      <p:sp>
        <p:nvSpPr>
          <p:cNvPr id="4" name="CaixaDeTexto 3"/>
          <p:cNvSpPr txBox="1"/>
          <p:nvPr/>
        </p:nvSpPr>
        <p:spPr>
          <a:xfrm>
            <a:off x="3535001" y="268941"/>
            <a:ext cx="2002471" cy="338554"/>
          </a:xfrm>
          <a:prstGeom prst="rect">
            <a:avLst/>
          </a:prstGeom>
          <a:ln w="9525"/>
        </p:spPr>
        <p:txBody>
          <a:bodyPr wrap="none" lIns="91440" tIns="45720" rIns="91440" bIns="4572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lang="pt-PT" sz="1600" b="1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cs typeface="+mn-cs"/>
              </a:rPr>
              <a:t>Projectos Previstos</a:t>
            </a:r>
            <a:endParaRPr kumimoji="0" lang="pt-PT" sz="1600" b="1" i="0" u="none" strike="noStrike" kern="1200" cap="none" spc="0" normalizeH="0" baseline="0" noProof="0" dirty="0" smtClean="0">
              <a:ln>
                <a:noFill/>
              </a:ln>
              <a:solidFill>
                <a:schemeClr val="accent6">
                  <a:lumMod val="60000"/>
                  <a:lumOff val="4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1353780" y="4001991"/>
            <a:ext cx="7517080" cy="984885"/>
          </a:xfrm>
          <a:prstGeom prst="rect">
            <a:avLst/>
          </a:prstGeom>
          <a:ln w="9525"/>
        </p:spPr>
        <p:txBody>
          <a:bodyPr wrap="square" lIns="91440" tIns="45720" rIns="91440" bIns="4572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pt-PT" sz="12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Foi assinado um Memorando de Entendimento com o Grupo </a:t>
            </a:r>
            <a:r>
              <a:rPr kumimoji="0" lang="pt-PT" sz="1200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Vergnet</a:t>
            </a:r>
            <a:r>
              <a:rPr kumimoji="0" lang="pt-PT" sz="120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 para a construção de Centrais Híbridas Térmica – Solar :</a:t>
            </a:r>
          </a:p>
          <a:p>
            <a:pPr lvl="1"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</a:pPr>
            <a:r>
              <a:rPr lang="pt-PT" sz="1200" baseline="0" dirty="0" smtClean="0">
                <a:latin typeface="+mn-lt"/>
                <a:cs typeface="+mn-cs"/>
              </a:rPr>
              <a:t> </a:t>
            </a:r>
            <a:r>
              <a:rPr lang="pt-PT" sz="1200" dirty="0" err="1" smtClean="0">
                <a:latin typeface="+mn-lt"/>
                <a:cs typeface="+mn-cs"/>
              </a:rPr>
              <a:t>Ondjiva</a:t>
            </a:r>
            <a:r>
              <a:rPr lang="pt-PT" sz="1200" dirty="0" smtClean="0">
                <a:latin typeface="+mn-lt"/>
                <a:cs typeface="+mn-cs"/>
              </a:rPr>
              <a:t> (Província do </a:t>
            </a:r>
            <a:r>
              <a:rPr lang="pt-PT" sz="1200" dirty="0" err="1" smtClean="0">
                <a:latin typeface="+mn-lt"/>
                <a:cs typeface="+mn-cs"/>
              </a:rPr>
              <a:t>Namibe</a:t>
            </a:r>
            <a:r>
              <a:rPr lang="pt-PT" sz="1200" dirty="0" smtClean="0">
                <a:latin typeface="+mn-lt"/>
                <a:cs typeface="+mn-cs"/>
              </a:rPr>
              <a:t>)</a:t>
            </a:r>
          </a:p>
          <a:p>
            <a:pPr lvl="1"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</a:pPr>
            <a:r>
              <a:rPr lang="pt-PT" sz="1200" dirty="0" smtClean="0">
                <a:latin typeface="+mn-lt"/>
                <a:cs typeface="+mn-cs"/>
              </a:rPr>
              <a:t> </a:t>
            </a:r>
            <a:r>
              <a:rPr lang="pt-PT" sz="1200" dirty="0" err="1" smtClean="0">
                <a:latin typeface="+mn-lt"/>
                <a:cs typeface="+mn-cs"/>
              </a:rPr>
              <a:t>Xangongo</a:t>
            </a:r>
            <a:r>
              <a:rPr lang="pt-PT" sz="1200" dirty="0" smtClean="0">
                <a:latin typeface="+mn-lt"/>
                <a:cs typeface="+mn-cs"/>
              </a:rPr>
              <a:t> (Província do </a:t>
            </a:r>
            <a:r>
              <a:rPr lang="pt-PT" sz="1200" dirty="0" err="1" smtClean="0">
                <a:latin typeface="+mn-lt"/>
                <a:cs typeface="+mn-cs"/>
              </a:rPr>
              <a:t>Cunene</a:t>
            </a:r>
            <a:r>
              <a:rPr lang="pt-PT" sz="1200" dirty="0" smtClean="0">
                <a:latin typeface="+mn-lt"/>
                <a:cs typeface="+mn-cs"/>
              </a:rPr>
              <a:t>) </a:t>
            </a:r>
            <a:endParaRPr kumimoji="0" lang="pt-PT" sz="120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CaixaDeTexto 7"/>
          <p:cNvSpPr txBox="1"/>
          <p:nvPr/>
        </p:nvSpPr>
        <p:spPr>
          <a:xfrm>
            <a:off x="1187524" y="3487485"/>
            <a:ext cx="1463862" cy="276999"/>
          </a:xfrm>
          <a:prstGeom prst="rect">
            <a:avLst/>
          </a:prstGeom>
          <a:ln w="9525"/>
        </p:spPr>
        <p:txBody>
          <a:bodyPr wrap="none" lIns="91440" tIns="45720" rIns="91440" bIns="4572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pt-P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6">
                    <a:lumMod val="60000"/>
                    <a:lumOff val="4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istemas Híbridos</a:t>
            </a:r>
          </a:p>
        </p:txBody>
      </p:sp>
      <p:sp>
        <p:nvSpPr>
          <p:cNvPr id="9" name="Rectângulo arredondado 8"/>
          <p:cNvSpPr/>
          <p:nvPr/>
        </p:nvSpPr>
        <p:spPr bwMode="gray">
          <a:xfrm>
            <a:off x="1187524" y="3764484"/>
            <a:ext cx="7392100" cy="1460665"/>
          </a:xfrm>
          <a:prstGeom prst="roundRect">
            <a:avLst/>
          </a:prstGeom>
          <a:noFill/>
          <a:ln w="6350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88900" indent="-88900" algn="just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</a:pPr>
            <a:endParaRPr lang="pt-PT" sz="1000" kern="0" dirty="0" smtClean="0">
              <a:solidFill>
                <a:sysClr val="windowText" lastClr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10" name="Rounded Rectangle 26"/>
          <p:cNvSpPr/>
          <p:nvPr/>
        </p:nvSpPr>
        <p:spPr>
          <a:xfrm>
            <a:off x="7297135" y="197691"/>
            <a:ext cx="2357477" cy="471989"/>
          </a:xfrm>
          <a:prstGeom prst="roundRect">
            <a:avLst/>
          </a:prstGeom>
          <a:solidFill>
            <a:schemeClr val="bg1">
              <a:lumMod val="85000"/>
              <a:alpha val="67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Ins="36000" rtlCol="0" anchor="ctr"/>
          <a:lstStyle/>
          <a:p>
            <a:r>
              <a:rPr lang="pt-PT" sz="1600" b="1" dirty="0" smtClean="0">
                <a:solidFill>
                  <a:schemeClr val="tx1"/>
                </a:solidFill>
              </a:rPr>
              <a:t>Energias Renováveis</a:t>
            </a:r>
            <a:endParaRPr lang="pt-PT" sz="1600" b="1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4" name="Picture 2" descr="http://www.blue-sol.com/energia-solar/wp-content/uploads/2014/06/2564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239" y="2806"/>
            <a:ext cx="9901761" cy="6855193"/>
          </a:xfrm>
          <a:prstGeom prst="rect">
            <a:avLst/>
          </a:prstGeom>
          <a:noFill/>
        </p:spPr>
      </p:pic>
      <p:pic>
        <p:nvPicPr>
          <p:cNvPr id="5" name="Picture 1970" descr="C:\Users\patricia.m.loureiro\AppData\Local\Microsoft\Windows\Temporary Internet Files\Content.Outlook\YYF1YN1Y\insignia_large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3384" y="63053"/>
            <a:ext cx="780696" cy="770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oup 1"/>
          <p:cNvGrpSpPr/>
          <p:nvPr/>
        </p:nvGrpSpPr>
        <p:grpSpPr>
          <a:xfrm>
            <a:off x="2104638" y="1011194"/>
            <a:ext cx="6019800" cy="1745670"/>
            <a:chOff x="3581400" y="2438400"/>
            <a:chExt cx="6019800" cy="2420476"/>
          </a:xfrm>
          <a:solidFill>
            <a:schemeClr val="bg1">
              <a:lumMod val="85000"/>
              <a:alpha val="67000"/>
            </a:schemeClr>
          </a:solidFill>
        </p:grpSpPr>
        <p:sp>
          <p:nvSpPr>
            <p:cNvPr id="7" name="Rounded Rectangle 11"/>
            <p:cNvSpPr/>
            <p:nvPr/>
          </p:nvSpPr>
          <p:spPr>
            <a:xfrm>
              <a:off x="3581400" y="2438400"/>
              <a:ext cx="625379" cy="677747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1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8" name="Rounded Rectangle 12"/>
            <p:cNvSpPr/>
            <p:nvPr/>
          </p:nvSpPr>
          <p:spPr>
            <a:xfrm>
              <a:off x="4379383" y="2438400"/>
              <a:ext cx="5221817" cy="677747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Introdução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9" name="Rounded Rectangle 18"/>
            <p:cNvSpPr/>
            <p:nvPr/>
          </p:nvSpPr>
          <p:spPr>
            <a:xfrm>
              <a:off x="3581400" y="3293621"/>
              <a:ext cx="625379" cy="672374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2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0" name="Rounded Rectangle 19"/>
            <p:cNvSpPr/>
            <p:nvPr/>
          </p:nvSpPr>
          <p:spPr>
            <a:xfrm>
              <a:off x="4379383" y="3293621"/>
              <a:ext cx="5221817" cy="672374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Produção de Energia Eléctrica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1" name="Rounded Rectangle 8"/>
            <p:cNvSpPr/>
            <p:nvPr/>
          </p:nvSpPr>
          <p:spPr>
            <a:xfrm>
              <a:off x="3581400" y="4202967"/>
              <a:ext cx="625379" cy="655909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3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2" name="Rounded Rectangle 9"/>
            <p:cNvSpPr/>
            <p:nvPr/>
          </p:nvSpPr>
          <p:spPr>
            <a:xfrm>
              <a:off x="4379383" y="4159935"/>
              <a:ext cx="5221817" cy="655909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Transporte de Energia Eléctrica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3" name="Group 24"/>
          <p:cNvGrpSpPr/>
          <p:nvPr/>
        </p:nvGrpSpPr>
        <p:grpSpPr>
          <a:xfrm>
            <a:off x="2104638" y="2873831"/>
            <a:ext cx="6019800" cy="471989"/>
            <a:chOff x="3600000" y="5715000"/>
            <a:chExt cx="6019800" cy="654441"/>
          </a:xfrm>
          <a:solidFill>
            <a:schemeClr val="bg1">
              <a:lumMod val="85000"/>
              <a:alpha val="67000"/>
            </a:schemeClr>
          </a:solidFill>
        </p:grpSpPr>
        <p:sp>
          <p:nvSpPr>
            <p:cNvPr id="14" name="Rounded Rectangle 25"/>
            <p:cNvSpPr/>
            <p:nvPr/>
          </p:nvSpPr>
          <p:spPr>
            <a:xfrm>
              <a:off x="3600000" y="5715000"/>
              <a:ext cx="625379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4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5" name="Rounded Rectangle 26"/>
            <p:cNvSpPr/>
            <p:nvPr/>
          </p:nvSpPr>
          <p:spPr>
            <a:xfrm>
              <a:off x="4397983" y="5715000"/>
              <a:ext cx="5221817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Distribuição de Energia Eléctrica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16" name="TextBox 1"/>
          <p:cNvSpPr txBox="1"/>
          <p:nvPr/>
        </p:nvSpPr>
        <p:spPr>
          <a:xfrm>
            <a:off x="1887258" y="424339"/>
            <a:ext cx="1664002" cy="425758"/>
          </a:xfrm>
          <a:prstGeom prst="rect">
            <a:avLst/>
          </a:prstGeom>
        </p:spPr>
        <p:txBody>
          <a:bodyPr wrap="square" lIns="0" anchor="b">
            <a:spAutoFit/>
          </a:bodyPr>
          <a:lstStyle>
            <a:lvl1pPr eaLnBrk="1" hangingPunct="1">
              <a:lnSpc>
                <a:spcPts val="2600"/>
              </a:lnSpc>
              <a:buFont typeface="Arial" charset="0"/>
              <a:defRPr sz="2000" b="1" spc="0" baseline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1pPr>
            <a:lvl2pPr eaLnBrk="1" hangingPunct="1">
              <a:lnSpc>
                <a:spcPts val="2600"/>
              </a:lnSpc>
              <a:buFont typeface="Arial" charset="0"/>
              <a:defRPr sz="2400"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eaLnBrk="1" hangingPunct="1">
              <a:lnSpc>
                <a:spcPts val="2600"/>
              </a:lnSpc>
              <a:buFont typeface="Arial" charset="0"/>
              <a:defRPr sz="2400"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eaLnBrk="1" hangingPunct="1">
              <a:lnSpc>
                <a:spcPts val="2600"/>
              </a:lnSpc>
              <a:buFont typeface="Arial" charset="0"/>
              <a:defRPr sz="2400"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eaLnBrk="1" hangingPunct="1">
              <a:lnSpc>
                <a:spcPts val="2600"/>
              </a:lnSpc>
              <a:buFont typeface="Arial" charset="0"/>
              <a:defRPr sz="2400"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pPr lvl="0" algn="ctr"/>
            <a:r>
              <a:rPr lang="en-US" sz="2400" baseline="0" dirty="0" smtClean="0">
                <a:solidFill>
                  <a:srgbClr val="FFCC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genda</a:t>
            </a:r>
            <a:endParaRPr lang="en-US" sz="2400" baseline="0" dirty="0">
              <a:solidFill>
                <a:srgbClr val="FFCC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17" name="Group 24"/>
          <p:cNvGrpSpPr/>
          <p:nvPr/>
        </p:nvGrpSpPr>
        <p:grpSpPr>
          <a:xfrm>
            <a:off x="2117184" y="4112151"/>
            <a:ext cx="6019800" cy="471989"/>
            <a:chOff x="3600000" y="5715000"/>
            <a:chExt cx="6019800" cy="654441"/>
          </a:xfrm>
          <a:solidFill>
            <a:schemeClr val="bg1">
              <a:lumMod val="85000"/>
              <a:alpha val="67000"/>
            </a:schemeClr>
          </a:solidFill>
        </p:grpSpPr>
        <p:sp>
          <p:nvSpPr>
            <p:cNvPr id="18" name="Rounded Rectangle 25"/>
            <p:cNvSpPr/>
            <p:nvPr/>
          </p:nvSpPr>
          <p:spPr>
            <a:xfrm>
              <a:off x="3600000" y="5715000"/>
              <a:ext cx="625379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6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9" name="Rounded Rectangle 26"/>
            <p:cNvSpPr/>
            <p:nvPr/>
          </p:nvSpPr>
          <p:spPr>
            <a:xfrm>
              <a:off x="4397983" y="5715000"/>
              <a:ext cx="5221817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Energias Renováveis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0" name="Group 24"/>
          <p:cNvGrpSpPr/>
          <p:nvPr/>
        </p:nvGrpSpPr>
        <p:grpSpPr>
          <a:xfrm>
            <a:off x="2138700" y="4734586"/>
            <a:ext cx="6019800" cy="471989"/>
            <a:chOff x="3600000" y="5715000"/>
            <a:chExt cx="6019800" cy="654441"/>
          </a:xfrm>
          <a:solidFill>
            <a:schemeClr val="bg1">
              <a:lumMod val="85000"/>
              <a:alpha val="67000"/>
            </a:schemeClr>
          </a:solidFill>
        </p:grpSpPr>
        <p:sp>
          <p:nvSpPr>
            <p:cNvPr id="21" name="Rounded Rectangle 25"/>
            <p:cNvSpPr/>
            <p:nvPr/>
          </p:nvSpPr>
          <p:spPr>
            <a:xfrm>
              <a:off x="3600000" y="5715000"/>
              <a:ext cx="625379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7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22" name="Rounded Rectangle 26"/>
            <p:cNvSpPr/>
            <p:nvPr/>
          </p:nvSpPr>
          <p:spPr>
            <a:xfrm>
              <a:off x="4397983" y="5715000"/>
              <a:ext cx="5221817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Electrificação Rural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3" name="Group 24"/>
          <p:cNvGrpSpPr/>
          <p:nvPr/>
        </p:nvGrpSpPr>
        <p:grpSpPr>
          <a:xfrm>
            <a:off x="2151246" y="5335059"/>
            <a:ext cx="6019800" cy="471989"/>
            <a:chOff x="3600000" y="5715000"/>
            <a:chExt cx="6019800" cy="654441"/>
          </a:xfrm>
          <a:solidFill>
            <a:schemeClr val="bg1">
              <a:lumMod val="85000"/>
              <a:alpha val="67000"/>
            </a:schemeClr>
          </a:solidFill>
        </p:grpSpPr>
        <p:sp>
          <p:nvSpPr>
            <p:cNvPr id="24" name="Rounded Rectangle 25"/>
            <p:cNvSpPr/>
            <p:nvPr/>
          </p:nvSpPr>
          <p:spPr>
            <a:xfrm>
              <a:off x="3600000" y="5715000"/>
              <a:ext cx="625379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8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25" name="Rounded Rectangle 26"/>
            <p:cNvSpPr/>
            <p:nvPr/>
          </p:nvSpPr>
          <p:spPr>
            <a:xfrm>
              <a:off x="4397983" y="5715000"/>
              <a:ext cx="5221817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Licenciamento e Fiscalização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6" name="Group 24"/>
          <p:cNvGrpSpPr/>
          <p:nvPr/>
        </p:nvGrpSpPr>
        <p:grpSpPr>
          <a:xfrm>
            <a:off x="2102663" y="3489356"/>
            <a:ext cx="6019800" cy="471989"/>
            <a:chOff x="3600000" y="5715000"/>
            <a:chExt cx="6019800" cy="654441"/>
          </a:xfrm>
          <a:solidFill>
            <a:schemeClr val="bg1">
              <a:lumMod val="85000"/>
              <a:alpha val="67000"/>
            </a:schemeClr>
          </a:solidFill>
        </p:grpSpPr>
        <p:sp>
          <p:nvSpPr>
            <p:cNvPr id="27" name="Rounded Rectangle 25"/>
            <p:cNvSpPr/>
            <p:nvPr/>
          </p:nvSpPr>
          <p:spPr>
            <a:xfrm>
              <a:off x="3600000" y="5715000"/>
              <a:ext cx="625379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5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28" name="Rounded Rectangle 26"/>
            <p:cNvSpPr/>
            <p:nvPr/>
          </p:nvSpPr>
          <p:spPr>
            <a:xfrm>
              <a:off x="4397983" y="5715000"/>
              <a:ext cx="5221817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Projectos Estruturantes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</p:grpSp>
    </p:spTree>
  </p:cSld>
  <p:clrMapOvr>
    <a:masterClrMapping/>
  </p:clrMapOvr>
  <p:transition>
    <p:pull dir="d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/>
          <p:cNvSpPr txBox="1"/>
          <p:nvPr/>
        </p:nvSpPr>
        <p:spPr>
          <a:xfrm>
            <a:off x="609600" y="1104405"/>
            <a:ext cx="8866909" cy="1169551"/>
          </a:xfrm>
          <a:prstGeom prst="rect">
            <a:avLst/>
          </a:prstGeom>
          <a:ln w="9525"/>
        </p:spPr>
        <p:txBody>
          <a:bodyPr wrap="square" lIns="91440" tIns="45720" rIns="91440" bIns="45720" rtlCol="0">
            <a:spAutoFit/>
          </a:bodyPr>
          <a:lstStyle/>
          <a:p>
            <a:pPr marL="0" marR="0" indent="0" algn="just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pt-PT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Este projecto consiste na instalação de 12 torres com alturas entre 60 e 80m, equipados com aparelhos de medição da velocidade, direcção do vento, temperatura do ar, humidade relativa, radiação solar e pressão atmosférica, nomeadamente: anemómetros,</a:t>
            </a:r>
            <a:r>
              <a:rPr kumimoji="0" lang="pt-PT" sz="1200" b="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 cata-ventos, higrómetros, termómetros, </a:t>
            </a:r>
            <a:r>
              <a:rPr kumimoji="0" lang="pt-PT" sz="1200" b="0" i="0" u="none" strike="noStrike" kern="1200" cap="none" spc="0" normalizeH="0" noProof="0" dirty="0" err="1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piranómetros</a:t>
            </a:r>
            <a:r>
              <a:rPr kumimoji="0" lang="pt-PT" sz="1200" b="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 e barómetros. 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lang="pt-PT" sz="1200" b="1" dirty="0" smtClean="0">
                <a:latin typeface="+mn-lt"/>
                <a:cs typeface="+mn-cs"/>
              </a:rPr>
              <a:t>O projecto teve o início efectivo em 2014 e tem a conclusão prevista para o final de Julho 2015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pt-PT" sz="1200" b="1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Como resultados do projecto o MINEA – ANGOLA terá o Atlas Eólico e o Atlas Solar </a:t>
            </a:r>
            <a:endParaRPr kumimoji="0" lang="pt-PT" sz="1200" b="1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2288092" y="268941"/>
            <a:ext cx="4750018" cy="338554"/>
          </a:xfrm>
          <a:prstGeom prst="rect">
            <a:avLst/>
          </a:prstGeom>
          <a:ln w="9525"/>
        </p:spPr>
        <p:txBody>
          <a:bodyPr wrap="none" lIns="91440" tIns="45720" rIns="91440" bIns="4572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lang="pt-PT" sz="1600" b="1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cs typeface="+mn-cs"/>
              </a:rPr>
              <a:t>Projecto Mapeamento dos Ventos em Angola</a:t>
            </a:r>
            <a:endParaRPr kumimoji="0" lang="pt-PT" sz="1600" b="1" i="0" u="none" strike="noStrike" kern="1200" cap="none" spc="0" normalizeH="0" baseline="0" noProof="0" dirty="0" smtClean="0">
              <a:ln>
                <a:noFill/>
              </a:ln>
              <a:solidFill>
                <a:schemeClr val="accent6">
                  <a:lumMod val="60000"/>
                  <a:lumOff val="4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Rounded Rectangle 26"/>
          <p:cNvSpPr/>
          <p:nvPr/>
        </p:nvSpPr>
        <p:spPr>
          <a:xfrm>
            <a:off x="7391917" y="85725"/>
            <a:ext cx="2399783" cy="654441"/>
          </a:xfrm>
          <a:prstGeom prst="roundRect">
            <a:avLst/>
          </a:prstGeom>
          <a:solidFill>
            <a:schemeClr val="bg1">
              <a:lumMod val="85000"/>
              <a:alpha val="67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Ins="36000" rtlCol="0" anchor="ctr"/>
          <a:lstStyle/>
          <a:p>
            <a:r>
              <a:rPr lang="pt-PT" sz="1600" b="1" dirty="0" smtClean="0">
                <a:solidFill>
                  <a:schemeClr val="tx1"/>
                </a:solidFill>
              </a:rPr>
              <a:t>Energias Renováveis</a:t>
            </a:r>
            <a:endParaRPr lang="pt-PT" sz="1600" b="1" dirty="0">
              <a:solidFill>
                <a:schemeClr val="tx1"/>
              </a:solidFill>
            </a:endParaRPr>
          </a:p>
        </p:txBody>
      </p:sp>
      <p:graphicFrame>
        <p:nvGraphicFramePr>
          <p:cNvPr id="6" name="Tabe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3792907"/>
              </p:ext>
            </p:extLst>
          </p:nvPr>
        </p:nvGraphicFramePr>
        <p:xfrm>
          <a:off x="2913558" y="2590800"/>
          <a:ext cx="4437289" cy="3854002"/>
        </p:xfrm>
        <a:graphic>
          <a:graphicData uri="http://schemas.openxmlformats.org/drawingml/2006/table">
            <a:tbl>
              <a:tblPr/>
              <a:tblGrid>
                <a:gridCol w="391845"/>
                <a:gridCol w="1291639"/>
                <a:gridCol w="1708883"/>
                <a:gridCol w="1044922"/>
              </a:tblGrid>
              <a:tr h="27325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PT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TE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PT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RRES </a:t>
                      </a:r>
                      <a:endParaRPr lang="pt-PT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pt-PT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OCALIZAÇÃ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</a:tr>
              <a:tr h="260673"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UNICÍPI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VÍNCI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</a:tr>
              <a:tr h="260673"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PT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fama</a:t>
                      </a:r>
                      <a:endParaRPr lang="pt-PT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PT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ungo</a:t>
                      </a:r>
                      <a:endParaRPr lang="pt-PT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PT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íge</a:t>
                      </a:r>
                      <a:endParaRPr lang="pt-PT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0673"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P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umb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PT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amabatela</a:t>
                      </a:r>
                      <a:r>
                        <a:rPr lang="pt-P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- </a:t>
                      </a:r>
                      <a:r>
                        <a:rPr lang="pt-PT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mbaca</a:t>
                      </a:r>
                      <a:endParaRPr lang="pt-PT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PT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wanza</a:t>
                      </a:r>
                      <a:r>
                        <a:rPr lang="pt-P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Nort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6672"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PT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ofuma</a:t>
                      </a:r>
                      <a:r>
                        <a:rPr lang="pt-P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pt-PT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ambuze</a:t>
                      </a:r>
                      <a:endParaRPr lang="pt-PT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PT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iwaba</a:t>
                      </a:r>
                      <a:r>
                        <a:rPr lang="pt-P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pt-PT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zoji</a:t>
                      </a:r>
                      <a:endParaRPr lang="pt-PT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P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lanj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0673"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PT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omb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PT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ussende</a:t>
                      </a:r>
                      <a:endParaRPr lang="pt-PT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PT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wanza</a:t>
                      </a:r>
                      <a:r>
                        <a:rPr lang="pt-P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Su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0673"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PT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uhess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PT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acolo</a:t>
                      </a:r>
                      <a:endParaRPr lang="pt-PT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PT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unda</a:t>
                      </a:r>
                      <a:r>
                        <a:rPr lang="pt-P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Su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6672"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PT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alund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PT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azombo</a:t>
                      </a:r>
                      <a:r>
                        <a:rPr lang="pt-P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- Alto Zambez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PT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oxico</a:t>
                      </a:r>
                      <a:endParaRPr lang="pt-PT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0673"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PT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hare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PT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harea</a:t>
                      </a:r>
                      <a:endParaRPr lang="pt-PT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PT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ié</a:t>
                      </a:r>
                      <a:endParaRPr lang="pt-PT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0673"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PT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aleng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PT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aála</a:t>
                      </a:r>
                      <a:endParaRPr lang="pt-PT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P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uamb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0673"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PT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uneng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PT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acula</a:t>
                      </a:r>
                      <a:endParaRPr lang="pt-PT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PT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uíla</a:t>
                      </a:r>
                      <a:endParaRPr lang="pt-PT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0673"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PT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hibi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PT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hibia</a:t>
                      </a:r>
                      <a:endParaRPr lang="pt-PT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PT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uíla</a:t>
                      </a:r>
                      <a:endParaRPr lang="pt-PT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0673"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PT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amacund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PT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amacunde</a:t>
                      </a:r>
                      <a:endParaRPr lang="pt-PT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PT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unene</a:t>
                      </a:r>
                      <a:endParaRPr lang="pt-PT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0673"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PT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enjami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PT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anda</a:t>
                      </a:r>
                      <a:endParaRPr lang="pt-PT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P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enguel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7" name="Rectângulo arredondado 6"/>
          <p:cNvSpPr/>
          <p:nvPr/>
        </p:nvSpPr>
        <p:spPr bwMode="gray">
          <a:xfrm>
            <a:off x="526475" y="1092530"/>
            <a:ext cx="8866909" cy="1317295"/>
          </a:xfrm>
          <a:prstGeom prst="roundRect">
            <a:avLst/>
          </a:prstGeom>
          <a:noFill/>
          <a:ln w="6350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88900" indent="-88900" algn="just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</a:pPr>
            <a:endParaRPr lang="pt-PT" sz="1000" kern="0" dirty="0" smtClean="0">
              <a:solidFill>
                <a:sysClr val="windowText" lastClr="000000"/>
              </a:solidFill>
              <a:latin typeface="+mj-lt"/>
              <a:cs typeface="Arial" pitchFamily="34" charset="0"/>
            </a:endParaRPr>
          </a:p>
        </p:txBody>
      </p:sp>
    </p:spTree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4" name="Picture 2" descr="http://www.blue-sol.com/energia-solar/wp-content/uploads/2014/06/2564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239" y="2806"/>
            <a:ext cx="9901761" cy="6855193"/>
          </a:xfrm>
          <a:prstGeom prst="rect">
            <a:avLst/>
          </a:prstGeom>
          <a:noFill/>
        </p:spPr>
      </p:pic>
      <p:pic>
        <p:nvPicPr>
          <p:cNvPr id="5" name="Picture 1970" descr="C:\Users\patricia.m.loureiro\AppData\Local\Microsoft\Windows\Temporary Internet Files\Content.Outlook\YYF1YN1Y\insignia_large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3384" y="63053"/>
            <a:ext cx="780696" cy="770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>
          <a:xfrm>
            <a:off x="2104638" y="1011194"/>
            <a:ext cx="6019800" cy="1745670"/>
            <a:chOff x="3581400" y="2438400"/>
            <a:chExt cx="6019800" cy="2420476"/>
          </a:xfrm>
          <a:solidFill>
            <a:schemeClr val="bg1">
              <a:lumMod val="85000"/>
              <a:alpha val="67000"/>
            </a:schemeClr>
          </a:solidFill>
        </p:grpSpPr>
        <p:sp>
          <p:nvSpPr>
            <p:cNvPr id="7" name="Rounded Rectangle 11"/>
            <p:cNvSpPr/>
            <p:nvPr/>
          </p:nvSpPr>
          <p:spPr>
            <a:xfrm>
              <a:off x="3581400" y="2438400"/>
              <a:ext cx="625379" cy="677747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1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8" name="Rounded Rectangle 12"/>
            <p:cNvSpPr/>
            <p:nvPr/>
          </p:nvSpPr>
          <p:spPr>
            <a:xfrm>
              <a:off x="4379383" y="2438400"/>
              <a:ext cx="5221817" cy="677747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Introdução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9" name="Rounded Rectangle 18"/>
            <p:cNvSpPr/>
            <p:nvPr/>
          </p:nvSpPr>
          <p:spPr>
            <a:xfrm>
              <a:off x="3581400" y="3293621"/>
              <a:ext cx="625379" cy="672374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2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0" name="Rounded Rectangle 19"/>
            <p:cNvSpPr/>
            <p:nvPr/>
          </p:nvSpPr>
          <p:spPr>
            <a:xfrm>
              <a:off x="4379383" y="3293621"/>
              <a:ext cx="5221817" cy="672374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Produção de Energia Eléctrica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1" name="Rounded Rectangle 8"/>
            <p:cNvSpPr/>
            <p:nvPr/>
          </p:nvSpPr>
          <p:spPr>
            <a:xfrm>
              <a:off x="3581400" y="4202967"/>
              <a:ext cx="625379" cy="655909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3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2" name="Rounded Rectangle 9"/>
            <p:cNvSpPr/>
            <p:nvPr/>
          </p:nvSpPr>
          <p:spPr>
            <a:xfrm>
              <a:off x="4379383" y="4159935"/>
              <a:ext cx="5221817" cy="655909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Transporte de Energia Eléctrica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3" name="Group 24"/>
          <p:cNvGrpSpPr/>
          <p:nvPr/>
        </p:nvGrpSpPr>
        <p:grpSpPr>
          <a:xfrm>
            <a:off x="2104638" y="2873831"/>
            <a:ext cx="6019800" cy="471989"/>
            <a:chOff x="3600000" y="5715000"/>
            <a:chExt cx="6019800" cy="654441"/>
          </a:xfrm>
          <a:solidFill>
            <a:schemeClr val="bg1">
              <a:lumMod val="85000"/>
              <a:alpha val="67000"/>
            </a:schemeClr>
          </a:solidFill>
        </p:grpSpPr>
        <p:sp>
          <p:nvSpPr>
            <p:cNvPr id="14" name="Rounded Rectangle 25"/>
            <p:cNvSpPr/>
            <p:nvPr/>
          </p:nvSpPr>
          <p:spPr>
            <a:xfrm>
              <a:off x="3600000" y="5715000"/>
              <a:ext cx="625379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4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5" name="Rounded Rectangle 26"/>
            <p:cNvSpPr/>
            <p:nvPr/>
          </p:nvSpPr>
          <p:spPr>
            <a:xfrm>
              <a:off x="4397983" y="5715000"/>
              <a:ext cx="5221817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Distribuição de Energia Eléctrica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16" name="TextBox 1"/>
          <p:cNvSpPr txBox="1"/>
          <p:nvPr/>
        </p:nvSpPr>
        <p:spPr>
          <a:xfrm>
            <a:off x="1887258" y="424339"/>
            <a:ext cx="1664002" cy="425758"/>
          </a:xfrm>
          <a:prstGeom prst="rect">
            <a:avLst/>
          </a:prstGeom>
        </p:spPr>
        <p:txBody>
          <a:bodyPr wrap="square" lIns="0" anchor="b">
            <a:spAutoFit/>
          </a:bodyPr>
          <a:lstStyle>
            <a:lvl1pPr eaLnBrk="1" hangingPunct="1">
              <a:lnSpc>
                <a:spcPts val="2600"/>
              </a:lnSpc>
              <a:buFont typeface="Arial" charset="0"/>
              <a:defRPr sz="2000" b="1" spc="0" baseline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1pPr>
            <a:lvl2pPr eaLnBrk="1" hangingPunct="1">
              <a:lnSpc>
                <a:spcPts val="2600"/>
              </a:lnSpc>
              <a:buFont typeface="Arial" charset="0"/>
              <a:defRPr sz="2400"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eaLnBrk="1" hangingPunct="1">
              <a:lnSpc>
                <a:spcPts val="2600"/>
              </a:lnSpc>
              <a:buFont typeface="Arial" charset="0"/>
              <a:defRPr sz="2400"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eaLnBrk="1" hangingPunct="1">
              <a:lnSpc>
                <a:spcPts val="2600"/>
              </a:lnSpc>
              <a:buFont typeface="Arial" charset="0"/>
              <a:defRPr sz="2400"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eaLnBrk="1" hangingPunct="1">
              <a:lnSpc>
                <a:spcPts val="2600"/>
              </a:lnSpc>
              <a:buFont typeface="Arial" charset="0"/>
              <a:defRPr sz="2400"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pPr lvl="0" algn="ctr"/>
            <a:r>
              <a:rPr lang="en-US" sz="2400" baseline="0" dirty="0" smtClean="0">
                <a:solidFill>
                  <a:srgbClr val="FFCC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genda</a:t>
            </a:r>
            <a:endParaRPr lang="en-US" sz="2400" baseline="0" dirty="0">
              <a:solidFill>
                <a:srgbClr val="FFCC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4" name="Group 24"/>
          <p:cNvGrpSpPr/>
          <p:nvPr/>
        </p:nvGrpSpPr>
        <p:grpSpPr>
          <a:xfrm>
            <a:off x="2117184" y="4112151"/>
            <a:ext cx="6019800" cy="471989"/>
            <a:chOff x="3600000" y="5715000"/>
            <a:chExt cx="6019800" cy="654441"/>
          </a:xfrm>
          <a:solidFill>
            <a:schemeClr val="bg1">
              <a:lumMod val="85000"/>
              <a:alpha val="67000"/>
            </a:schemeClr>
          </a:solidFill>
        </p:grpSpPr>
        <p:sp>
          <p:nvSpPr>
            <p:cNvPr id="18" name="Rounded Rectangle 25"/>
            <p:cNvSpPr/>
            <p:nvPr/>
          </p:nvSpPr>
          <p:spPr>
            <a:xfrm>
              <a:off x="3600000" y="5715000"/>
              <a:ext cx="625379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6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9" name="Rounded Rectangle 26"/>
            <p:cNvSpPr/>
            <p:nvPr/>
          </p:nvSpPr>
          <p:spPr>
            <a:xfrm>
              <a:off x="4397983" y="5715000"/>
              <a:ext cx="5221817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Energias Renováveis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6" name="Group 24"/>
          <p:cNvGrpSpPr/>
          <p:nvPr/>
        </p:nvGrpSpPr>
        <p:grpSpPr>
          <a:xfrm>
            <a:off x="2138700" y="4734586"/>
            <a:ext cx="6019800" cy="471989"/>
            <a:chOff x="3600000" y="5715000"/>
            <a:chExt cx="6019800" cy="654441"/>
          </a:xfrm>
          <a:solidFill>
            <a:schemeClr val="bg1">
              <a:lumMod val="85000"/>
              <a:alpha val="67000"/>
            </a:schemeClr>
          </a:solidFill>
        </p:grpSpPr>
        <p:sp>
          <p:nvSpPr>
            <p:cNvPr id="21" name="Rounded Rectangle 25"/>
            <p:cNvSpPr/>
            <p:nvPr/>
          </p:nvSpPr>
          <p:spPr>
            <a:xfrm>
              <a:off x="3600000" y="5715000"/>
              <a:ext cx="625379" cy="654441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bg1"/>
                  </a:solidFill>
                </a:rPr>
                <a:t>7</a:t>
              </a:r>
              <a:endParaRPr lang="pt-PT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22" name="Rounded Rectangle 26"/>
            <p:cNvSpPr/>
            <p:nvPr/>
          </p:nvSpPr>
          <p:spPr>
            <a:xfrm>
              <a:off x="4397983" y="5715000"/>
              <a:ext cx="5221817" cy="654441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bg1"/>
                  </a:solidFill>
                </a:rPr>
                <a:t>Electrificação Rural</a:t>
              </a:r>
              <a:endParaRPr lang="pt-PT" sz="16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3" name="Group 24"/>
          <p:cNvGrpSpPr/>
          <p:nvPr/>
        </p:nvGrpSpPr>
        <p:grpSpPr>
          <a:xfrm>
            <a:off x="2151246" y="5335059"/>
            <a:ext cx="6019800" cy="471989"/>
            <a:chOff x="3600000" y="5715000"/>
            <a:chExt cx="6019800" cy="654441"/>
          </a:xfrm>
          <a:solidFill>
            <a:schemeClr val="bg1">
              <a:lumMod val="85000"/>
              <a:alpha val="67000"/>
            </a:schemeClr>
          </a:solidFill>
        </p:grpSpPr>
        <p:sp>
          <p:nvSpPr>
            <p:cNvPr id="24" name="Rounded Rectangle 25"/>
            <p:cNvSpPr/>
            <p:nvPr/>
          </p:nvSpPr>
          <p:spPr>
            <a:xfrm>
              <a:off x="3600000" y="5715000"/>
              <a:ext cx="625379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8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25" name="Rounded Rectangle 26"/>
            <p:cNvSpPr/>
            <p:nvPr/>
          </p:nvSpPr>
          <p:spPr>
            <a:xfrm>
              <a:off x="4397983" y="5715000"/>
              <a:ext cx="5221817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Licenciamento e Fiscalização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7" name="Group 24"/>
          <p:cNvGrpSpPr/>
          <p:nvPr/>
        </p:nvGrpSpPr>
        <p:grpSpPr>
          <a:xfrm>
            <a:off x="2102663" y="3489356"/>
            <a:ext cx="6019800" cy="471989"/>
            <a:chOff x="3600000" y="5715000"/>
            <a:chExt cx="6019800" cy="654441"/>
          </a:xfrm>
          <a:solidFill>
            <a:schemeClr val="bg1">
              <a:lumMod val="85000"/>
              <a:alpha val="67000"/>
            </a:schemeClr>
          </a:solidFill>
        </p:grpSpPr>
        <p:sp>
          <p:nvSpPr>
            <p:cNvPr id="27" name="Rounded Rectangle 25"/>
            <p:cNvSpPr/>
            <p:nvPr/>
          </p:nvSpPr>
          <p:spPr>
            <a:xfrm>
              <a:off x="3600000" y="5715000"/>
              <a:ext cx="625379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5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28" name="Rounded Rectangle 26"/>
            <p:cNvSpPr/>
            <p:nvPr/>
          </p:nvSpPr>
          <p:spPr>
            <a:xfrm>
              <a:off x="4397983" y="5715000"/>
              <a:ext cx="5221817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Projectos Estruturantes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aixaDeTexto 9"/>
          <p:cNvSpPr txBox="1"/>
          <p:nvPr/>
        </p:nvSpPr>
        <p:spPr>
          <a:xfrm>
            <a:off x="2897066" y="268941"/>
            <a:ext cx="2770310" cy="338554"/>
          </a:xfrm>
          <a:prstGeom prst="rect">
            <a:avLst/>
          </a:prstGeom>
          <a:ln w="9525"/>
        </p:spPr>
        <p:txBody>
          <a:bodyPr wrap="none" lIns="91440" tIns="45720" rIns="91440" bIns="4572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lang="pt-PT" sz="1600" b="1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cs typeface="+mn-cs"/>
              </a:rPr>
              <a:t>Projectos de </a:t>
            </a:r>
            <a:r>
              <a:rPr lang="pt-PT" sz="1600" b="1" dirty="0" err="1" smtClean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cs typeface="+mn-cs"/>
              </a:rPr>
              <a:t>Mini-Hídricas</a:t>
            </a:r>
            <a:endParaRPr kumimoji="0" lang="pt-PT" sz="1600" b="1" i="0" u="none" strike="noStrike" kern="1200" cap="none" spc="0" normalizeH="0" baseline="0" noProof="0" dirty="0" smtClean="0">
              <a:ln>
                <a:noFill/>
              </a:ln>
              <a:solidFill>
                <a:schemeClr val="accent6">
                  <a:lumMod val="60000"/>
                  <a:lumOff val="4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Rounded Rectangle 26"/>
          <p:cNvSpPr/>
          <p:nvPr/>
        </p:nvSpPr>
        <p:spPr>
          <a:xfrm>
            <a:off x="7468594" y="183006"/>
            <a:ext cx="2240959" cy="471989"/>
          </a:xfrm>
          <a:prstGeom prst="roundRect">
            <a:avLst/>
          </a:prstGeom>
          <a:solidFill>
            <a:schemeClr val="bg1">
              <a:lumMod val="85000"/>
              <a:alpha val="67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Ins="36000" rtlCol="0" anchor="ctr"/>
          <a:lstStyle/>
          <a:p>
            <a:r>
              <a:rPr lang="pt-PT" sz="1600" b="1" dirty="0" smtClean="0">
                <a:solidFill>
                  <a:schemeClr val="tx1"/>
                </a:solidFill>
              </a:rPr>
              <a:t>Electrificação Rural</a:t>
            </a:r>
            <a:endParaRPr lang="pt-PT" sz="1600" b="1" dirty="0">
              <a:solidFill>
                <a:schemeClr val="tx1"/>
              </a:solidFill>
            </a:endParaRPr>
          </a:p>
        </p:txBody>
      </p:sp>
      <p:graphicFrame>
        <p:nvGraphicFramePr>
          <p:cNvPr id="11" name="Tabela 10"/>
          <p:cNvGraphicFramePr>
            <a:graphicFrameLocks noGrp="1"/>
          </p:cNvGraphicFramePr>
          <p:nvPr/>
        </p:nvGraphicFramePr>
        <p:xfrm>
          <a:off x="1581150" y="2038350"/>
          <a:ext cx="6638923" cy="1677000"/>
        </p:xfrm>
        <a:graphic>
          <a:graphicData uri="http://schemas.openxmlformats.org/drawingml/2006/table">
            <a:tbl>
              <a:tblPr/>
              <a:tblGrid>
                <a:gridCol w="399477"/>
                <a:gridCol w="1902269"/>
                <a:gridCol w="806562"/>
                <a:gridCol w="1139842"/>
                <a:gridCol w="1386374"/>
                <a:gridCol w="1004399"/>
              </a:tblGrid>
              <a:tr h="19050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PT" sz="11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ITE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PT" sz="11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ENTIDAD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PT" sz="11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AH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POTÊNCI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PT" sz="11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LOCALIZAÇÃ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PT" sz="11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PRAZO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</a:tr>
              <a:tr h="190500"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 [MW]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</a:tr>
              <a:tr h="324000"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Sansul</a:t>
                      </a:r>
                      <a:endParaRPr lang="pt-PT" sz="11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Liapeca</a:t>
                      </a:r>
                      <a:endParaRPr lang="pt-PT" sz="11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,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Cuando</a:t>
                      </a:r>
                      <a:r>
                        <a:rPr lang="pt-PT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pt-PT" sz="1100" b="0" i="0" u="none" strike="noStrike" dirty="0" err="1" smtClean="0">
                          <a:solidFill>
                            <a:srgbClr val="000000"/>
                          </a:solidFill>
                          <a:latin typeface="+mn-lt"/>
                        </a:rPr>
                        <a:t>Cubango</a:t>
                      </a:r>
                      <a:endParaRPr lang="pt-PT" sz="11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(18 - 20) ano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4000"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Consulbrás</a:t>
                      </a:r>
                      <a:r>
                        <a:rPr lang="pt-PT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/</a:t>
                      </a:r>
                      <a:r>
                        <a:rPr lang="pt-PT" sz="1100" b="0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Metroeuropa</a:t>
                      </a:r>
                      <a:endParaRPr lang="pt-PT" sz="11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N´harea</a:t>
                      </a:r>
                      <a:endParaRPr lang="pt-PT" sz="11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3,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Bié</a:t>
                      </a:r>
                      <a:endParaRPr lang="pt-PT" sz="11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(18 - 20) ano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4000"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Consórcio </a:t>
                      </a:r>
                      <a:r>
                        <a:rPr lang="pt-PT" sz="1100" b="0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Ecoenergia</a:t>
                      </a:r>
                      <a:endParaRPr lang="pt-PT" sz="11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M´bridge</a:t>
                      </a:r>
                      <a:endParaRPr lang="pt-PT" sz="11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Zaír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(18 - 20) ano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4000"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Consórcio </a:t>
                      </a:r>
                      <a:r>
                        <a:rPr lang="pt-PT" sz="1100" b="0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Ecoenergia</a:t>
                      </a:r>
                      <a:endParaRPr lang="pt-PT" sz="11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Cuemb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,0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Bié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(18 - 20) ano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4" name="CaixaDeTexto 13"/>
          <p:cNvSpPr txBox="1"/>
          <p:nvPr/>
        </p:nvSpPr>
        <p:spPr>
          <a:xfrm>
            <a:off x="1200150" y="4314825"/>
            <a:ext cx="7400926" cy="923330"/>
          </a:xfrm>
          <a:prstGeom prst="rect">
            <a:avLst/>
          </a:prstGeom>
          <a:ln w="9525"/>
        </p:spPr>
        <p:txBody>
          <a:bodyPr wrap="square" lIns="91440" tIns="45720" rIns="91440" bIns="45720" rtlCol="0">
            <a:spAutoFit/>
          </a:bodyPr>
          <a:lstStyle/>
          <a:p>
            <a:pPr marL="0" marR="0" indent="0" algn="just" defTabSz="914400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pt-P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6">
                    <a:lumMod val="60000"/>
                    <a:lumOff val="4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AE e Contratos de Concessão negociados.</a:t>
            </a:r>
            <a:r>
              <a:rPr kumimoji="0" lang="pt-PT" sz="1200" b="1" i="0" u="none" strike="noStrike" kern="1200" cap="none" spc="0" normalizeH="0" noProof="0" dirty="0" smtClean="0">
                <a:ln>
                  <a:noFill/>
                </a:ln>
                <a:solidFill>
                  <a:schemeClr val="accent6">
                    <a:lumMod val="60000"/>
                    <a:lumOff val="4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E</a:t>
            </a:r>
            <a:r>
              <a:rPr kumimoji="0" lang="pt-P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6">
                    <a:lumMod val="60000"/>
                    <a:lumOff val="4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 curso trâmites para submissão do processo ao Chefe do Executivo com vista </a:t>
            </a:r>
            <a:r>
              <a:rPr lang="pt-PT" sz="1200" b="1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cs typeface="+mn-cs"/>
              </a:rPr>
              <a:t>à obtenção da homologação e outorga de Concessão para a construção e exploração dos aproveitamentos</a:t>
            </a:r>
            <a:endParaRPr kumimoji="0" lang="pt-PT" sz="1200" b="1" i="0" u="none" strike="noStrike" kern="1200" cap="none" spc="0" normalizeH="0" baseline="0" noProof="0" dirty="0" smtClean="0">
              <a:ln>
                <a:noFill/>
              </a:ln>
              <a:solidFill>
                <a:schemeClr val="accent6">
                  <a:lumMod val="60000"/>
                  <a:lumOff val="4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5" name="Rectângulo arredondado 14"/>
          <p:cNvSpPr/>
          <p:nvPr/>
        </p:nvSpPr>
        <p:spPr bwMode="gray">
          <a:xfrm>
            <a:off x="1133475" y="4276725"/>
            <a:ext cx="7524750" cy="1047750"/>
          </a:xfrm>
          <a:prstGeom prst="roundRect">
            <a:avLst/>
          </a:prstGeom>
          <a:noFill/>
          <a:ln w="19050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88900" indent="-88900" algn="just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</a:pPr>
            <a:endParaRPr lang="pt-PT" sz="1000" kern="0" dirty="0" smtClean="0">
              <a:solidFill>
                <a:sysClr val="windowText" lastClr="000000"/>
              </a:solidFill>
              <a:latin typeface="+mj-lt"/>
              <a:cs typeface="Arial" pitchFamily="34" charset="0"/>
            </a:endParaRPr>
          </a:p>
        </p:txBody>
      </p:sp>
    </p:spTree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/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7877"/>
          <a:stretch/>
        </p:blipFill>
        <p:spPr bwMode="auto">
          <a:xfrm>
            <a:off x="302331" y="1285875"/>
            <a:ext cx="5187243" cy="459105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graphicFrame>
        <p:nvGraphicFramePr>
          <p:cNvPr id="4" name="Tabela 3"/>
          <p:cNvGraphicFramePr>
            <a:graphicFrameLocks noGrp="1"/>
          </p:cNvGraphicFramePr>
          <p:nvPr/>
        </p:nvGraphicFramePr>
        <p:xfrm>
          <a:off x="5489575" y="1409700"/>
          <a:ext cx="4083051" cy="3163500"/>
        </p:xfrm>
        <a:graphic>
          <a:graphicData uri="http://schemas.openxmlformats.org/drawingml/2006/table">
            <a:tbl>
              <a:tblPr/>
              <a:tblGrid>
                <a:gridCol w="383321"/>
                <a:gridCol w="1878956"/>
                <a:gridCol w="725572"/>
                <a:gridCol w="1095202"/>
              </a:tblGrid>
              <a:tr h="571500">
                <a:tc>
                  <a:txBody>
                    <a:bodyPr/>
                    <a:lstStyle/>
                    <a:p>
                      <a:pPr algn="ctr" fontAlgn="ctr"/>
                      <a:r>
                        <a:rPr lang="pt-PT" sz="11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ITE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11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APROVEITAMENTO HÍDRIC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POTÊNCIA PREVISTA [MW]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11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PROVÍNCI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</a:tr>
              <a:tr h="216000"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Cambolo</a:t>
                      </a:r>
                      <a:endParaRPr lang="pt-PT" sz="11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1,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PT" sz="11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Lunda Nort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6000"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Cuango</a:t>
                      </a:r>
                      <a:endParaRPr lang="pt-PT" sz="11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</a:tr>
              <a:tr h="216000"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Cassai</a:t>
                      </a:r>
                      <a:endParaRPr lang="pt-PT" sz="11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3,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pt-PT" sz="11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Moxic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6000"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Luacano</a:t>
                      </a:r>
                      <a:endParaRPr lang="pt-PT" sz="11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2,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</a:tr>
              <a:tr h="216000"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Quedas do rio </a:t>
                      </a:r>
                      <a:r>
                        <a:rPr lang="pt-PT" sz="1100" b="0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Luizavo</a:t>
                      </a:r>
                      <a:endParaRPr lang="pt-PT" sz="11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4,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</a:tr>
              <a:tr h="216000"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Cazombo</a:t>
                      </a:r>
                      <a:r>
                        <a:rPr lang="pt-PT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 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5,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</a:tr>
              <a:tr h="216000"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Cazombo</a:t>
                      </a:r>
                      <a:r>
                        <a:rPr lang="pt-PT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 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5,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</a:tr>
              <a:tr h="216000"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Quedas de </a:t>
                      </a:r>
                      <a:r>
                        <a:rPr lang="pt-PT" sz="1100" b="0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Kaquima</a:t>
                      </a:r>
                      <a:endParaRPr lang="pt-PT" sz="11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1,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pt-PT" sz="11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Cuando Cubang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6000"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Missão Velh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1,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</a:tr>
              <a:tr h="216000"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Cutato</a:t>
                      </a:r>
                      <a:endParaRPr lang="pt-PT" sz="11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2,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</a:tr>
              <a:tr h="216000"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Rápidos de </a:t>
                      </a:r>
                      <a:r>
                        <a:rPr lang="pt-PT" sz="1100" b="0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M'Pupa</a:t>
                      </a:r>
                      <a:endParaRPr lang="pt-PT" sz="11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9,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</a:tr>
              <a:tr h="216000"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Cuvango</a:t>
                      </a:r>
                      <a:endParaRPr lang="pt-PT" sz="11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,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PT" sz="1100" b="0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Huíla</a:t>
                      </a:r>
                      <a:endParaRPr lang="pt-PT" sz="11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6" name="CaixaDeTexto 5"/>
          <p:cNvSpPr txBox="1"/>
          <p:nvPr/>
        </p:nvSpPr>
        <p:spPr>
          <a:xfrm>
            <a:off x="5991225" y="4981575"/>
            <a:ext cx="2994731" cy="1000274"/>
          </a:xfrm>
          <a:prstGeom prst="rect">
            <a:avLst/>
          </a:prstGeom>
          <a:ln w="9525"/>
        </p:spPr>
        <p:txBody>
          <a:bodyPr wrap="none" lIns="91440" tIns="45720" rIns="91440" bIns="45720" rtlCol="0">
            <a:spAutoFit/>
          </a:bodyPr>
          <a:lstStyle/>
          <a:p>
            <a:pPr marL="228600" marR="0" indent="-2286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</a:pPr>
            <a:r>
              <a:rPr lang="pt-PT" sz="1100" b="1" dirty="0" err="1" smtClean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cs typeface="+mn-cs"/>
              </a:rPr>
              <a:t>Mini-rede</a:t>
            </a:r>
            <a:r>
              <a:rPr lang="pt-PT" sz="1100" b="1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cs typeface="+mn-cs"/>
              </a:rPr>
              <a:t> 1:  AHE Quedas do </a:t>
            </a:r>
            <a:r>
              <a:rPr lang="pt-PT" sz="1100" b="1" dirty="0" err="1" smtClean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cs typeface="+mn-cs"/>
              </a:rPr>
              <a:t>Vuca</a:t>
            </a:r>
            <a:endParaRPr lang="pt-PT" sz="1100" b="1" dirty="0" smtClean="0">
              <a:solidFill>
                <a:schemeClr val="accent6">
                  <a:lumMod val="60000"/>
                  <a:lumOff val="40000"/>
                </a:schemeClr>
              </a:solidFill>
              <a:latin typeface="+mn-lt"/>
              <a:cs typeface="+mn-cs"/>
            </a:endParaRPr>
          </a:p>
          <a:p>
            <a:pPr marL="228600" marR="0" indent="-2286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</a:pPr>
            <a:r>
              <a:rPr kumimoji="0" lang="pt-PT" sz="11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accent6">
                    <a:lumMod val="60000"/>
                    <a:lumOff val="4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ini-rede</a:t>
            </a:r>
            <a:r>
              <a:rPr kumimoji="0" lang="pt-PT" sz="1100" b="1" i="0" u="none" strike="noStrike" kern="1200" cap="none" spc="0" normalizeH="0" noProof="0" dirty="0" smtClean="0">
                <a:ln>
                  <a:noFill/>
                </a:ln>
                <a:solidFill>
                  <a:schemeClr val="accent6">
                    <a:lumMod val="60000"/>
                    <a:lumOff val="4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2+3: AHE de </a:t>
            </a:r>
            <a:r>
              <a:rPr kumimoji="0" lang="pt-PT" sz="1100" b="1" i="0" u="none" strike="noStrike" kern="1200" cap="none" spc="0" normalizeH="0" noProof="0" dirty="0" err="1" smtClean="0">
                <a:ln>
                  <a:noFill/>
                </a:ln>
                <a:solidFill>
                  <a:schemeClr val="accent6">
                    <a:lumMod val="60000"/>
                    <a:lumOff val="4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uacano</a:t>
            </a:r>
            <a:endParaRPr kumimoji="0" lang="pt-PT" sz="1100" b="1" i="0" u="none" strike="noStrike" kern="1200" cap="none" spc="0" normalizeH="0" noProof="0" dirty="0" smtClean="0">
              <a:ln>
                <a:noFill/>
              </a:ln>
              <a:solidFill>
                <a:schemeClr val="accent6">
                  <a:lumMod val="60000"/>
                  <a:lumOff val="4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28600" marR="0" indent="-2286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</a:pPr>
            <a:r>
              <a:rPr lang="pt-PT" sz="1100" b="1" baseline="0" dirty="0" err="1" smtClean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cs typeface="+mn-cs"/>
              </a:rPr>
              <a:t>Mini-rede</a:t>
            </a:r>
            <a:r>
              <a:rPr lang="pt-PT" sz="1100" b="1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cs typeface="+mn-cs"/>
              </a:rPr>
              <a:t> 4: AHE Quedas de </a:t>
            </a:r>
            <a:r>
              <a:rPr lang="pt-PT" sz="1100" b="1" dirty="0" err="1" smtClean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cs typeface="+mn-cs"/>
              </a:rPr>
              <a:t>Kaquima</a:t>
            </a:r>
            <a:endParaRPr lang="pt-PT" sz="1100" b="1" dirty="0" smtClean="0">
              <a:solidFill>
                <a:schemeClr val="accent6">
                  <a:lumMod val="60000"/>
                  <a:lumOff val="40000"/>
                </a:schemeClr>
              </a:solidFill>
              <a:latin typeface="+mn-lt"/>
              <a:cs typeface="+mn-cs"/>
            </a:endParaRPr>
          </a:p>
          <a:p>
            <a:pPr marL="228600" marR="0" indent="-2286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</a:pPr>
            <a:r>
              <a:rPr kumimoji="0" lang="pt-PT" sz="11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accent6">
                    <a:lumMod val="60000"/>
                    <a:lumOff val="4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ini-rede</a:t>
            </a:r>
            <a:r>
              <a:rPr kumimoji="0" lang="pt-PT" sz="1100" b="1" i="0" u="none" strike="noStrike" kern="1200" cap="none" spc="0" normalizeH="0" noProof="0" dirty="0" smtClean="0">
                <a:ln>
                  <a:noFill/>
                </a:ln>
                <a:solidFill>
                  <a:schemeClr val="accent6">
                    <a:lumMod val="60000"/>
                    <a:lumOff val="4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5: AHE de </a:t>
            </a:r>
            <a:r>
              <a:rPr kumimoji="0" lang="pt-PT" sz="1100" b="1" i="0" u="none" strike="noStrike" kern="1200" cap="none" spc="0" normalizeH="0" noProof="0" dirty="0" err="1" smtClean="0">
                <a:ln>
                  <a:noFill/>
                </a:ln>
                <a:solidFill>
                  <a:schemeClr val="accent6">
                    <a:lumMod val="60000"/>
                    <a:lumOff val="4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utato</a:t>
            </a:r>
            <a:endParaRPr kumimoji="0" lang="pt-PT" sz="1100" b="1" i="0" u="none" strike="noStrike" kern="1200" cap="none" spc="0" normalizeH="0" baseline="0" noProof="0" dirty="0" smtClean="0">
              <a:ln>
                <a:noFill/>
              </a:ln>
              <a:solidFill>
                <a:schemeClr val="accent6">
                  <a:lumMod val="60000"/>
                  <a:lumOff val="4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Rectângulo arredondado 6"/>
          <p:cNvSpPr/>
          <p:nvPr/>
        </p:nvSpPr>
        <p:spPr bwMode="gray">
          <a:xfrm>
            <a:off x="5886450" y="4924425"/>
            <a:ext cx="3248025" cy="1123950"/>
          </a:xfrm>
          <a:prstGeom prst="roundRect">
            <a:avLst/>
          </a:prstGeom>
          <a:noFill/>
          <a:ln w="12700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88900" indent="-88900" algn="just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</a:pPr>
            <a:endParaRPr lang="pt-PT" sz="1000" kern="0" dirty="0" smtClean="0">
              <a:solidFill>
                <a:sysClr val="windowText" lastClr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8" name="CaixaDeTexto 7"/>
          <p:cNvSpPr txBox="1"/>
          <p:nvPr/>
        </p:nvSpPr>
        <p:spPr>
          <a:xfrm>
            <a:off x="2897066" y="268941"/>
            <a:ext cx="2828018" cy="338554"/>
          </a:xfrm>
          <a:prstGeom prst="rect">
            <a:avLst/>
          </a:prstGeom>
          <a:ln w="9525"/>
        </p:spPr>
        <p:txBody>
          <a:bodyPr wrap="none" lIns="91440" tIns="45720" rIns="91440" bIns="4572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lang="pt-PT" sz="1600" b="1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cs typeface="+mn-cs"/>
              </a:rPr>
              <a:t>Projectos de </a:t>
            </a:r>
            <a:r>
              <a:rPr lang="pt-PT" sz="1600" b="1" dirty="0" err="1" smtClean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cs typeface="+mn-cs"/>
              </a:rPr>
              <a:t>Mini-Hídricas</a:t>
            </a:r>
            <a:endParaRPr kumimoji="0" lang="pt-PT" sz="1600" b="1" i="0" u="none" strike="noStrike" kern="1200" cap="none" spc="0" normalizeH="0" baseline="0" noProof="0" dirty="0" smtClean="0">
              <a:ln>
                <a:noFill/>
              </a:ln>
              <a:solidFill>
                <a:schemeClr val="accent6">
                  <a:lumMod val="60000"/>
                  <a:lumOff val="4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Rounded Rectangle 26"/>
          <p:cNvSpPr/>
          <p:nvPr/>
        </p:nvSpPr>
        <p:spPr>
          <a:xfrm>
            <a:off x="7468594" y="183006"/>
            <a:ext cx="2240959" cy="471989"/>
          </a:xfrm>
          <a:prstGeom prst="roundRect">
            <a:avLst/>
          </a:prstGeom>
          <a:solidFill>
            <a:schemeClr val="bg1">
              <a:lumMod val="85000"/>
              <a:alpha val="67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Ins="36000" rtlCol="0" anchor="ctr"/>
          <a:lstStyle/>
          <a:p>
            <a:r>
              <a:rPr lang="pt-PT" sz="1600" b="1" dirty="0" smtClean="0">
                <a:solidFill>
                  <a:schemeClr val="tx1"/>
                </a:solidFill>
              </a:rPr>
              <a:t>Electrificação Rural</a:t>
            </a:r>
            <a:endParaRPr lang="pt-PT" sz="1600" b="1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ângulo arredondado 7"/>
          <p:cNvSpPr/>
          <p:nvPr/>
        </p:nvSpPr>
        <p:spPr bwMode="gray">
          <a:xfrm>
            <a:off x="400053" y="990511"/>
            <a:ext cx="9045652" cy="60016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88900" indent="-88900" algn="just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</a:pPr>
            <a:endParaRPr lang="pt-PT" sz="1000" kern="0" dirty="0" smtClean="0">
              <a:solidFill>
                <a:sysClr val="windowText" lastClr="000000"/>
              </a:solidFill>
              <a:latin typeface="+mj-lt"/>
              <a:cs typeface="Arial" pitchFamily="34" charset="0"/>
            </a:endParaRPr>
          </a:p>
        </p:txBody>
      </p:sp>
      <p:graphicFrame>
        <p:nvGraphicFramePr>
          <p:cNvPr id="2" name="Tabela 1"/>
          <p:cNvGraphicFramePr>
            <a:graphicFrameLocks noGrp="1"/>
          </p:cNvGraphicFramePr>
          <p:nvPr/>
        </p:nvGraphicFramePr>
        <p:xfrm>
          <a:off x="371477" y="1726500"/>
          <a:ext cx="9296396" cy="4791075"/>
        </p:xfrm>
        <a:graphic>
          <a:graphicData uri="http://schemas.openxmlformats.org/drawingml/2006/table">
            <a:tbl>
              <a:tblPr/>
              <a:tblGrid>
                <a:gridCol w="809893"/>
                <a:gridCol w="809893"/>
                <a:gridCol w="514521"/>
                <a:gridCol w="628860"/>
                <a:gridCol w="514521"/>
                <a:gridCol w="619330"/>
                <a:gridCol w="552633"/>
                <a:gridCol w="470835"/>
                <a:gridCol w="573890"/>
                <a:gridCol w="573890"/>
                <a:gridCol w="573890"/>
                <a:gridCol w="573890"/>
                <a:gridCol w="573890"/>
                <a:gridCol w="753230"/>
                <a:gridCol w="753230"/>
              </a:tblGrid>
              <a:tr h="212649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>
                          <a:solidFill>
                            <a:srgbClr val="FFFFFF"/>
                          </a:solidFill>
                          <a:latin typeface="Century Gothic"/>
                        </a:rPr>
                        <a:t>Província 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26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 smtClean="0">
                          <a:solidFill>
                            <a:srgbClr val="FFFFFF"/>
                          </a:solidFill>
                          <a:latin typeface="Century Gothic"/>
                        </a:rPr>
                        <a:t>Empresa</a:t>
                      </a:r>
                      <a:endParaRPr lang="pt-PT" sz="900" b="0" i="0" u="none" strike="noStrike" dirty="0">
                        <a:solidFill>
                          <a:srgbClr val="FFFFFF"/>
                        </a:solidFill>
                        <a:latin typeface="Century Gothic"/>
                      </a:endParaRP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266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>
                          <a:solidFill>
                            <a:srgbClr val="FFFFFF"/>
                          </a:solidFill>
                          <a:latin typeface="Century Gothic"/>
                        </a:rPr>
                        <a:t>Subestações 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26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pt-PT" sz="900" b="0" i="0" u="none" strike="noStrike" dirty="0">
                          <a:solidFill>
                            <a:srgbClr val="FFFFFF"/>
                          </a:solidFill>
                          <a:latin typeface="Century Gothic"/>
                        </a:rPr>
                        <a:t>Rede AT (km)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26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pt-PT" sz="900" b="0" i="0" u="none" strike="noStrike" dirty="0">
                          <a:solidFill>
                            <a:srgbClr val="FFFFFF"/>
                          </a:solidFill>
                          <a:latin typeface="Century Gothic"/>
                        </a:rPr>
                        <a:t>Postos Transformação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26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PT" sz="900" b="0" i="0" u="none" strike="noStrike" dirty="0">
                          <a:solidFill>
                            <a:srgbClr val="FFFFFF"/>
                          </a:solidFill>
                          <a:latin typeface="Century Gothic"/>
                        </a:rPr>
                        <a:t>Rede MT (km)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26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>
                          <a:solidFill>
                            <a:srgbClr val="FFFFFF"/>
                          </a:solidFill>
                          <a:latin typeface="Century Gothic"/>
                        </a:rPr>
                        <a:t>Rede BT (km) 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26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FFFFFF"/>
                          </a:solidFill>
                          <a:latin typeface="Century Gothic"/>
                        </a:rPr>
                        <a:t>Rede IP (km) 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26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>
                          <a:solidFill>
                            <a:srgbClr val="FFFFFF"/>
                          </a:solidFill>
                          <a:latin typeface="Century Gothic"/>
                        </a:rPr>
                        <a:t>Ligações domiciliares 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26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 smtClean="0">
                          <a:solidFill>
                            <a:srgbClr val="FFFFFF"/>
                          </a:solidFill>
                          <a:latin typeface="Century Gothic"/>
                        </a:rPr>
                        <a:t>Prazo Execução (semanas)</a:t>
                      </a:r>
                      <a:endParaRPr lang="pt-PT" sz="900" b="0" i="0" u="none" strike="noStrike" dirty="0">
                        <a:solidFill>
                          <a:srgbClr val="FFFFFF"/>
                        </a:solidFill>
                        <a:latin typeface="Century Gothic"/>
                      </a:endParaRP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266"/>
                    </a:solidFill>
                  </a:tcPr>
                </a:tc>
              </a:tr>
              <a:tr h="506204"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FFFFFF"/>
                          </a:solidFill>
                          <a:latin typeface="Century Gothic"/>
                        </a:rPr>
                        <a:t>Quant. 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22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FFFFFF"/>
                          </a:solidFill>
                          <a:latin typeface="Century Gothic"/>
                        </a:rPr>
                        <a:t>Relação Tensão (kV) 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2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FFFFFF"/>
                          </a:solidFill>
                          <a:latin typeface="Century Gothic"/>
                        </a:rPr>
                        <a:t>220kV 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2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FFFFFF"/>
                          </a:solidFill>
                          <a:latin typeface="Century Gothic"/>
                        </a:rPr>
                        <a:t>60kV 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2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 err="1">
                          <a:solidFill>
                            <a:srgbClr val="FFFFFF"/>
                          </a:solidFill>
                          <a:latin typeface="Century Gothic"/>
                        </a:rPr>
                        <a:t>Quant</a:t>
                      </a:r>
                      <a:r>
                        <a:rPr lang="pt-PT" sz="900" b="0" i="0" u="none" strike="noStrike" dirty="0">
                          <a:solidFill>
                            <a:srgbClr val="FFFFFF"/>
                          </a:solidFill>
                          <a:latin typeface="Century Gothic"/>
                        </a:rPr>
                        <a:t>. 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2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 err="1">
                          <a:solidFill>
                            <a:srgbClr val="FFFFFF"/>
                          </a:solidFill>
                          <a:latin typeface="Century Gothic"/>
                        </a:rPr>
                        <a:t>Pot</a:t>
                      </a:r>
                      <a:r>
                        <a:rPr lang="pt-PT" sz="900" b="0" i="0" u="none" strike="noStrike" dirty="0">
                          <a:solidFill>
                            <a:srgbClr val="FFFFFF"/>
                          </a:solidFill>
                          <a:latin typeface="Century Gothic"/>
                        </a:rPr>
                        <a:t>. </a:t>
                      </a:r>
                      <a:r>
                        <a:rPr lang="pt-PT" sz="900" b="0" i="0" u="none" strike="noStrike" dirty="0" smtClean="0">
                          <a:solidFill>
                            <a:srgbClr val="FFFFFF"/>
                          </a:solidFill>
                          <a:latin typeface="Century Gothic"/>
                        </a:rPr>
                        <a:t> (</a:t>
                      </a:r>
                      <a:r>
                        <a:rPr lang="pt-PT" sz="900" b="0" i="0" u="none" strike="noStrike" dirty="0" err="1">
                          <a:solidFill>
                            <a:srgbClr val="FFFFFF"/>
                          </a:solidFill>
                          <a:latin typeface="Century Gothic"/>
                        </a:rPr>
                        <a:t>kVA</a:t>
                      </a:r>
                      <a:r>
                        <a:rPr lang="pt-PT" sz="900" b="0" i="0" u="none" strike="noStrike" dirty="0">
                          <a:solidFill>
                            <a:srgbClr val="FFFFFF"/>
                          </a:solidFill>
                          <a:latin typeface="Century Gothic"/>
                        </a:rPr>
                        <a:t>) 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2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 err="1">
                          <a:solidFill>
                            <a:srgbClr val="FFFFFF"/>
                          </a:solidFill>
                          <a:latin typeface="Century Gothic"/>
                        </a:rPr>
                        <a:t>Pot</a:t>
                      </a:r>
                      <a:r>
                        <a:rPr lang="pt-PT" sz="900" b="0" i="0" u="none" strike="noStrike" dirty="0">
                          <a:solidFill>
                            <a:srgbClr val="FFFFFF"/>
                          </a:solidFill>
                          <a:latin typeface="Century Gothic"/>
                        </a:rPr>
                        <a:t>. Total (</a:t>
                      </a:r>
                      <a:r>
                        <a:rPr lang="pt-PT" sz="900" b="0" i="0" u="none" strike="noStrike" dirty="0" err="1">
                          <a:solidFill>
                            <a:srgbClr val="FFFFFF"/>
                          </a:solidFill>
                          <a:latin typeface="Century Gothic"/>
                        </a:rPr>
                        <a:t>kVA</a:t>
                      </a:r>
                      <a:r>
                        <a:rPr lang="pt-PT" sz="900" b="0" i="0" u="none" strike="noStrike" dirty="0">
                          <a:solidFill>
                            <a:srgbClr val="FFFFFF"/>
                          </a:solidFill>
                          <a:latin typeface="Century Gothic"/>
                        </a:rPr>
                        <a:t>) 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2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FFFFFF"/>
                          </a:solidFill>
                          <a:latin typeface="Century Gothic"/>
                        </a:rPr>
                        <a:t>30 kV 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2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FFFFFF"/>
                          </a:solidFill>
                          <a:latin typeface="Century Gothic"/>
                        </a:rPr>
                        <a:t>15 kV 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266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</a:tr>
              <a:tr h="193279"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pt-PT" sz="900" b="1" i="0" u="none" strike="noStrike" dirty="0" err="1">
                          <a:solidFill>
                            <a:srgbClr val="000000"/>
                          </a:solidFill>
                          <a:latin typeface="Century Gothic"/>
                        </a:rPr>
                        <a:t>Kuanza</a:t>
                      </a:r>
                      <a:r>
                        <a:rPr lang="pt-PT" sz="900" b="1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 Sul 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PROFIS</a:t>
                      </a:r>
                      <a:endParaRPr lang="pt-PT" sz="9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3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60/30 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t"/>
                      <a:r>
                        <a:rPr lang="pt-PT" sz="900" b="0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 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136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64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250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16.000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24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 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599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599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59.477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20</a:t>
                      </a:r>
                      <a:endParaRPr lang="pt-PT" sz="9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</a:tr>
              <a:tr h="193279"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48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400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19.200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</a:tr>
              <a:tr h="193279"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22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630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13.860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</a:tr>
              <a:tr h="358945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pt-PT" sz="900" b="1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Zaire 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FC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EXERGIA</a:t>
                      </a:r>
                      <a:endParaRPr lang="pt-PT" sz="9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FC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PT" sz="900" b="0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1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CC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220/60/30 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CCD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t"/>
                      <a:r>
                        <a:rPr lang="pt-PT" sz="900" b="0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 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CCD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305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CCD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306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CCD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250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CCD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76457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CCD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148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CCD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 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CCD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223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CCD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110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CCD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35.304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CCD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24</a:t>
                      </a:r>
                      <a:endParaRPr lang="pt-PT" sz="9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CCD3"/>
                    </a:solidFill>
                  </a:tcPr>
                </a:tc>
              </a:tr>
              <a:tr h="193279"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PT" sz="900" b="0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4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FC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PT" sz="900" b="0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60/30 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FC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</a:tr>
              <a:tr h="193279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1" i="0" u="none" strike="noStrike" dirty="0" err="1">
                          <a:solidFill>
                            <a:srgbClr val="000000"/>
                          </a:solidFill>
                          <a:latin typeface="Century Gothic"/>
                        </a:rPr>
                        <a:t>Bengo</a:t>
                      </a:r>
                      <a:r>
                        <a:rPr lang="pt-PT" sz="900" b="1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 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GCI</a:t>
                      </a:r>
                      <a:endParaRPr lang="pt-PT" sz="9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3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60/30 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PT" sz="900" b="0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 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130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237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250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59244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185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 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91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99,9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8.427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28</a:t>
                      </a:r>
                      <a:endParaRPr lang="pt-PT" sz="9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</a:tr>
              <a:tr h="358945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1" i="0" u="none" strike="noStrike" dirty="0" err="1">
                          <a:solidFill>
                            <a:srgbClr val="000000"/>
                          </a:solidFill>
                          <a:latin typeface="Century Gothic"/>
                        </a:rPr>
                        <a:t>Kuanza</a:t>
                      </a:r>
                      <a:r>
                        <a:rPr lang="pt-PT" sz="900" b="1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 Norte 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FC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9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ENGIMAIS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F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 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F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 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F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PT" sz="900" b="0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 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F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PT" sz="900" b="0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 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FC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14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FC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250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FC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3.500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FC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40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F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 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FC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9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FC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13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FC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680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FC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12</a:t>
                      </a:r>
                      <a:endParaRPr lang="pt-PT" sz="9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FCF"/>
                    </a:solidFill>
                  </a:tcPr>
                </a:tc>
              </a:tr>
              <a:tr h="193279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1" i="0" u="none" strike="noStrike" dirty="0" err="1">
                          <a:solidFill>
                            <a:srgbClr val="000000"/>
                          </a:solidFill>
                          <a:latin typeface="Century Gothic"/>
                        </a:rPr>
                        <a:t>Namibe</a:t>
                      </a:r>
                      <a:r>
                        <a:rPr lang="pt-PT" sz="900" b="1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 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SOAPRO</a:t>
                      </a:r>
                      <a:endParaRPr lang="pt-PT" sz="9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1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60/30 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PT" sz="900" b="0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 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PT" sz="900" b="0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 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14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250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3.500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137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 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46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20,6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782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20</a:t>
                      </a:r>
                      <a:endParaRPr lang="pt-PT" sz="9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</a:tr>
              <a:tr h="358945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pt-PT" sz="900" b="1" i="0" u="none" strike="noStrike" dirty="0" err="1">
                          <a:solidFill>
                            <a:srgbClr val="000000"/>
                          </a:solidFill>
                          <a:latin typeface="Century Gothic"/>
                        </a:rPr>
                        <a:t>Huíla</a:t>
                      </a:r>
                      <a:r>
                        <a:rPr lang="pt-PT" sz="900" b="1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 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FC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TECNOPLANO</a:t>
                      </a:r>
                      <a:endParaRPr lang="pt-PT" sz="9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FC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1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FC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220/60/30 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FC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t"/>
                      <a:r>
                        <a:rPr lang="pt-PT" sz="900" b="0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 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FC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t"/>
                      <a:r>
                        <a:rPr lang="pt-PT" sz="900" b="0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85,8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FC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62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FC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100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FC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6.200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FC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301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FC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10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FC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327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FC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15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FC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8.898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FC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12</a:t>
                      </a:r>
                      <a:endParaRPr lang="pt-PT" sz="9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FCF"/>
                    </a:solidFill>
                  </a:tcPr>
                </a:tc>
              </a:tr>
              <a:tr h="193279"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3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CC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60/30 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CCD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65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CC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250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CC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16.250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CCD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</a:tr>
              <a:tr h="193279"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pt-PT" sz="900" b="1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Benguela 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NIPSA PEC</a:t>
                      </a:r>
                      <a:endParaRPr lang="pt-PT" sz="9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1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220/60 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rtl="0" fontAlgn="t"/>
                      <a:r>
                        <a:rPr lang="pt-PT" sz="900" b="0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1,47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rtl="0" fontAlgn="t"/>
                      <a:r>
                        <a:rPr lang="pt-PT" sz="900" b="0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274,3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127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100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12.700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140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 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576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27,9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45.818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22</a:t>
                      </a:r>
                      <a:endParaRPr lang="pt-PT" sz="9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</a:tr>
              <a:tr h="193279"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72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250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18.000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</a:tr>
              <a:tr h="193279"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9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60/30 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5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400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2000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</a:tr>
              <a:tr h="193279"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6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630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3.780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7E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</a:tr>
              <a:tr h="358945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pt-PT" sz="900" b="1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Huambo 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FC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H3P</a:t>
                      </a:r>
                      <a:endParaRPr lang="pt-PT" sz="9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FC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1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FC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220/60/30 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FC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t"/>
                      <a:r>
                        <a:rPr lang="pt-PT" sz="900" b="0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 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FC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t"/>
                      <a:r>
                        <a:rPr lang="pt-PT" sz="900" b="0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187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FC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316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FC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250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FC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79.080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FC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66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FC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 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FC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170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FC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198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FC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73.429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FC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10</a:t>
                      </a:r>
                      <a:endParaRPr lang="pt-PT" sz="900" b="0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FCF"/>
                    </a:solidFill>
                  </a:tcPr>
                </a:tc>
              </a:tr>
              <a:tr h="193279"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>
                          <a:solidFill>
                            <a:srgbClr val="000000"/>
                          </a:solidFill>
                          <a:latin typeface="Century Gothic"/>
                        </a:rPr>
                        <a:t>4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CC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0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60/30 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CCD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</a:tr>
              <a:tr h="317094">
                <a:tc>
                  <a:txBody>
                    <a:bodyPr/>
                    <a:lstStyle/>
                    <a:p>
                      <a:pPr algn="ctr" rtl="0" fontAlgn="ctr"/>
                      <a:endParaRPr lang="pt-PT" sz="900" b="1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7667" marR="69005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B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1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Total</a:t>
                      </a:r>
                      <a:endParaRPr lang="pt-PT" sz="900" b="1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7667" marR="69005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B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1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31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B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PT" sz="900" b="1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 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B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PT" sz="900" b="1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1,47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B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PT" sz="900" b="1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1.118,1 </a:t>
                      </a:r>
                      <a:endParaRPr lang="pt-PT" sz="900" b="1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B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PT" sz="900" b="1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1.358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B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PT" sz="900" b="1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 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B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1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294.589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B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1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1.041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B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1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10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B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1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2.041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B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1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1.083,40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B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PT" sz="900" b="1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232.815</a:t>
                      </a: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B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PT" sz="900" b="1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7667" marR="7667" marT="766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BE"/>
                    </a:solidFill>
                  </a:tcPr>
                </a:tc>
              </a:tr>
            </a:tbl>
          </a:graphicData>
        </a:graphic>
      </p:graphicFrame>
      <p:sp>
        <p:nvSpPr>
          <p:cNvPr id="4" name="CaixaDeTexto 3"/>
          <p:cNvSpPr txBox="1"/>
          <p:nvPr/>
        </p:nvSpPr>
        <p:spPr>
          <a:xfrm>
            <a:off x="8048625" y="1666875"/>
            <a:ext cx="1733550" cy="307777"/>
          </a:xfrm>
          <a:prstGeom prst="rect">
            <a:avLst/>
          </a:prstGeom>
          <a:ln w="9525"/>
        </p:spPr>
        <p:txBody>
          <a:bodyPr wrap="square" lIns="91440" tIns="45720" rIns="91440" bIns="4572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pt-PT" sz="14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048625" y="1666875"/>
            <a:ext cx="1619250" cy="307777"/>
          </a:xfrm>
          <a:prstGeom prst="rect">
            <a:avLst/>
          </a:prstGeom>
          <a:ln w="9525"/>
        </p:spPr>
        <p:txBody>
          <a:bodyPr wrap="square" lIns="91440" tIns="45720" rIns="91440" bIns="4572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pt-PT" sz="14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7886700" y="1666875"/>
            <a:ext cx="1781175" cy="307777"/>
          </a:xfrm>
          <a:prstGeom prst="rect">
            <a:avLst/>
          </a:prstGeom>
          <a:ln w="9525"/>
        </p:spPr>
        <p:txBody>
          <a:bodyPr wrap="square" lIns="91440" tIns="45720" rIns="91440" bIns="4572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pt-PT" sz="14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CaixaDeTexto 6"/>
          <p:cNvSpPr txBox="1"/>
          <p:nvPr/>
        </p:nvSpPr>
        <p:spPr>
          <a:xfrm>
            <a:off x="947305" y="1061761"/>
            <a:ext cx="8134597" cy="461665"/>
          </a:xfrm>
          <a:prstGeom prst="rect">
            <a:avLst/>
          </a:prstGeom>
          <a:ln w="9525"/>
        </p:spPr>
        <p:txBody>
          <a:bodyPr wrap="square" lIns="91440" tIns="45720" rIns="91440" bIns="45720" rtlCol="0">
            <a:spAutoFit/>
          </a:bodyPr>
          <a:lstStyle/>
          <a:p>
            <a:pPr marL="0" marR="0" indent="0" algn="just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pt-P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ojectos Base e Cadernos de Encargos elaborados concluídos para lançamento de concursos</a:t>
            </a:r>
            <a:r>
              <a:rPr kumimoji="0" lang="pt-PT" sz="1200" b="1" i="0" u="none" strike="noStrike" kern="1200" cap="none" spc="0" normalizeH="0" noProof="0" dirty="0" smtClean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de construção de Subestações, Redes AT, Redes MT e Redes BT</a:t>
            </a:r>
            <a:endParaRPr kumimoji="0" lang="pt-PT" sz="1200" b="1" i="0" u="none" strike="noStrike" kern="1200" cap="none" spc="0" normalizeH="0" baseline="0" noProof="0" dirty="0" smtClean="0">
              <a:ln>
                <a:noFill/>
              </a:ln>
              <a:solidFill>
                <a:schemeClr val="accent6">
                  <a:lumMod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2897066" y="268941"/>
            <a:ext cx="3304110" cy="338554"/>
          </a:xfrm>
          <a:prstGeom prst="rect">
            <a:avLst/>
          </a:prstGeom>
          <a:ln w="9525"/>
        </p:spPr>
        <p:txBody>
          <a:bodyPr wrap="none" lIns="91440" tIns="45720" rIns="91440" bIns="4572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lang="pt-PT" sz="1600" b="1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cs typeface="+mn-cs"/>
              </a:rPr>
              <a:t>Redes para Electrificação Rural</a:t>
            </a:r>
            <a:endParaRPr kumimoji="0" lang="pt-PT" sz="1600" b="1" i="0" u="none" strike="noStrike" kern="1200" cap="none" spc="0" normalizeH="0" baseline="0" noProof="0" dirty="0" smtClean="0">
              <a:ln>
                <a:noFill/>
              </a:ln>
              <a:solidFill>
                <a:schemeClr val="accent6">
                  <a:lumMod val="60000"/>
                  <a:lumOff val="4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Rounded Rectangle 26"/>
          <p:cNvSpPr/>
          <p:nvPr/>
        </p:nvSpPr>
        <p:spPr>
          <a:xfrm>
            <a:off x="7468594" y="218631"/>
            <a:ext cx="2240959" cy="471989"/>
          </a:xfrm>
          <a:prstGeom prst="roundRect">
            <a:avLst/>
          </a:prstGeom>
          <a:solidFill>
            <a:schemeClr val="bg1">
              <a:lumMod val="85000"/>
              <a:alpha val="67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Ins="36000" rtlCol="0" anchor="ctr"/>
          <a:lstStyle/>
          <a:p>
            <a:r>
              <a:rPr lang="pt-PT" sz="1600" b="1" dirty="0" smtClean="0">
                <a:solidFill>
                  <a:schemeClr val="tx1"/>
                </a:solidFill>
              </a:rPr>
              <a:t>Electrificação Rural</a:t>
            </a:r>
            <a:endParaRPr lang="pt-PT" sz="1600" b="1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4" name="Picture 2" descr="http://www.blue-sol.com/energia-solar/wp-content/uploads/2014/06/2564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239" y="2806"/>
            <a:ext cx="9901761" cy="6855193"/>
          </a:xfrm>
          <a:prstGeom prst="rect">
            <a:avLst/>
          </a:prstGeom>
          <a:noFill/>
        </p:spPr>
      </p:pic>
      <p:pic>
        <p:nvPicPr>
          <p:cNvPr id="5" name="Picture 1970" descr="C:\Users\patricia.m.loureiro\AppData\Local\Microsoft\Windows\Temporary Internet Files\Content.Outlook\YYF1YN1Y\insignia_large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3384" y="63053"/>
            <a:ext cx="780696" cy="770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>
          <a:xfrm>
            <a:off x="2104638" y="1011194"/>
            <a:ext cx="6019800" cy="1745670"/>
            <a:chOff x="3581400" y="2438400"/>
            <a:chExt cx="6019800" cy="2420476"/>
          </a:xfrm>
          <a:solidFill>
            <a:schemeClr val="bg1">
              <a:lumMod val="85000"/>
              <a:alpha val="67000"/>
            </a:schemeClr>
          </a:solidFill>
        </p:grpSpPr>
        <p:sp>
          <p:nvSpPr>
            <p:cNvPr id="7" name="Rounded Rectangle 11"/>
            <p:cNvSpPr/>
            <p:nvPr/>
          </p:nvSpPr>
          <p:spPr>
            <a:xfrm>
              <a:off x="3581400" y="2438400"/>
              <a:ext cx="625379" cy="677747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1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8" name="Rounded Rectangle 12"/>
            <p:cNvSpPr/>
            <p:nvPr/>
          </p:nvSpPr>
          <p:spPr>
            <a:xfrm>
              <a:off x="4379383" y="2438400"/>
              <a:ext cx="5221817" cy="677747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Introdução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9" name="Rounded Rectangle 18"/>
            <p:cNvSpPr/>
            <p:nvPr/>
          </p:nvSpPr>
          <p:spPr>
            <a:xfrm>
              <a:off x="3581400" y="3293621"/>
              <a:ext cx="625379" cy="672374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2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0" name="Rounded Rectangle 19"/>
            <p:cNvSpPr/>
            <p:nvPr/>
          </p:nvSpPr>
          <p:spPr>
            <a:xfrm>
              <a:off x="4379383" y="3293621"/>
              <a:ext cx="5221817" cy="672374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Produção de Energia Eléctrica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1" name="Rounded Rectangle 8"/>
            <p:cNvSpPr/>
            <p:nvPr/>
          </p:nvSpPr>
          <p:spPr>
            <a:xfrm>
              <a:off x="3581400" y="4202967"/>
              <a:ext cx="625379" cy="655909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3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2" name="Rounded Rectangle 9"/>
            <p:cNvSpPr/>
            <p:nvPr/>
          </p:nvSpPr>
          <p:spPr>
            <a:xfrm>
              <a:off x="4379383" y="4159935"/>
              <a:ext cx="5221817" cy="655909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Transporte de Energia Eléctrica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3" name="Group 24"/>
          <p:cNvGrpSpPr/>
          <p:nvPr/>
        </p:nvGrpSpPr>
        <p:grpSpPr>
          <a:xfrm>
            <a:off x="2104638" y="2873831"/>
            <a:ext cx="6019800" cy="471989"/>
            <a:chOff x="3600000" y="5715000"/>
            <a:chExt cx="6019800" cy="654441"/>
          </a:xfrm>
          <a:solidFill>
            <a:schemeClr val="bg1">
              <a:lumMod val="85000"/>
              <a:alpha val="67000"/>
            </a:schemeClr>
          </a:solidFill>
        </p:grpSpPr>
        <p:sp>
          <p:nvSpPr>
            <p:cNvPr id="14" name="Rounded Rectangle 25"/>
            <p:cNvSpPr/>
            <p:nvPr/>
          </p:nvSpPr>
          <p:spPr>
            <a:xfrm>
              <a:off x="3600000" y="5715000"/>
              <a:ext cx="625379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4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5" name="Rounded Rectangle 26"/>
            <p:cNvSpPr/>
            <p:nvPr/>
          </p:nvSpPr>
          <p:spPr>
            <a:xfrm>
              <a:off x="4397983" y="5715000"/>
              <a:ext cx="5221817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Distribuição de Energia Eléctrica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16" name="TextBox 1"/>
          <p:cNvSpPr txBox="1"/>
          <p:nvPr/>
        </p:nvSpPr>
        <p:spPr>
          <a:xfrm>
            <a:off x="1887258" y="424339"/>
            <a:ext cx="1664002" cy="425758"/>
          </a:xfrm>
          <a:prstGeom prst="rect">
            <a:avLst/>
          </a:prstGeom>
        </p:spPr>
        <p:txBody>
          <a:bodyPr wrap="square" lIns="0" anchor="b">
            <a:spAutoFit/>
          </a:bodyPr>
          <a:lstStyle>
            <a:lvl1pPr eaLnBrk="1" hangingPunct="1">
              <a:lnSpc>
                <a:spcPts val="2600"/>
              </a:lnSpc>
              <a:buFont typeface="Arial" charset="0"/>
              <a:defRPr sz="2000" b="1" spc="0" baseline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1pPr>
            <a:lvl2pPr eaLnBrk="1" hangingPunct="1">
              <a:lnSpc>
                <a:spcPts val="2600"/>
              </a:lnSpc>
              <a:buFont typeface="Arial" charset="0"/>
              <a:defRPr sz="2400"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eaLnBrk="1" hangingPunct="1">
              <a:lnSpc>
                <a:spcPts val="2600"/>
              </a:lnSpc>
              <a:buFont typeface="Arial" charset="0"/>
              <a:defRPr sz="2400"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eaLnBrk="1" hangingPunct="1">
              <a:lnSpc>
                <a:spcPts val="2600"/>
              </a:lnSpc>
              <a:buFont typeface="Arial" charset="0"/>
              <a:defRPr sz="2400"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eaLnBrk="1" hangingPunct="1">
              <a:lnSpc>
                <a:spcPts val="2600"/>
              </a:lnSpc>
              <a:buFont typeface="Arial" charset="0"/>
              <a:defRPr sz="2400"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pPr lvl="0" algn="ctr"/>
            <a:r>
              <a:rPr lang="en-US" sz="2400" baseline="0" dirty="0" smtClean="0">
                <a:solidFill>
                  <a:srgbClr val="FFCC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genda</a:t>
            </a:r>
            <a:endParaRPr lang="en-US" sz="2400" baseline="0" dirty="0">
              <a:solidFill>
                <a:srgbClr val="FFCC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4" name="Group 24"/>
          <p:cNvGrpSpPr/>
          <p:nvPr/>
        </p:nvGrpSpPr>
        <p:grpSpPr>
          <a:xfrm>
            <a:off x="2117184" y="4112151"/>
            <a:ext cx="6019800" cy="471989"/>
            <a:chOff x="3600000" y="5715000"/>
            <a:chExt cx="6019800" cy="654441"/>
          </a:xfrm>
          <a:solidFill>
            <a:schemeClr val="bg1">
              <a:lumMod val="85000"/>
              <a:alpha val="67000"/>
            </a:schemeClr>
          </a:solidFill>
        </p:grpSpPr>
        <p:sp>
          <p:nvSpPr>
            <p:cNvPr id="18" name="Rounded Rectangle 25"/>
            <p:cNvSpPr/>
            <p:nvPr/>
          </p:nvSpPr>
          <p:spPr>
            <a:xfrm>
              <a:off x="3600000" y="5715000"/>
              <a:ext cx="625379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6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9" name="Rounded Rectangle 26"/>
            <p:cNvSpPr/>
            <p:nvPr/>
          </p:nvSpPr>
          <p:spPr>
            <a:xfrm>
              <a:off x="4397983" y="5715000"/>
              <a:ext cx="5221817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Energias Renováveis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6" name="Group 24"/>
          <p:cNvGrpSpPr/>
          <p:nvPr/>
        </p:nvGrpSpPr>
        <p:grpSpPr>
          <a:xfrm>
            <a:off x="2138700" y="4734586"/>
            <a:ext cx="6019800" cy="471989"/>
            <a:chOff x="3600000" y="5715000"/>
            <a:chExt cx="6019800" cy="654441"/>
          </a:xfrm>
          <a:solidFill>
            <a:schemeClr val="bg1">
              <a:lumMod val="85000"/>
              <a:alpha val="67000"/>
            </a:schemeClr>
          </a:solidFill>
        </p:grpSpPr>
        <p:sp>
          <p:nvSpPr>
            <p:cNvPr id="21" name="Rounded Rectangle 25"/>
            <p:cNvSpPr/>
            <p:nvPr/>
          </p:nvSpPr>
          <p:spPr>
            <a:xfrm>
              <a:off x="3600000" y="5715000"/>
              <a:ext cx="625379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7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22" name="Rounded Rectangle 26"/>
            <p:cNvSpPr/>
            <p:nvPr/>
          </p:nvSpPr>
          <p:spPr>
            <a:xfrm>
              <a:off x="4397983" y="5715000"/>
              <a:ext cx="5221817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Electrificação Rural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3" name="Group 24"/>
          <p:cNvGrpSpPr/>
          <p:nvPr/>
        </p:nvGrpSpPr>
        <p:grpSpPr>
          <a:xfrm>
            <a:off x="2151246" y="5335059"/>
            <a:ext cx="6019800" cy="471989"/>
            <a:chOff x="3600000" y="5715000"/>
            <a:chExt cx="6019800" cy="654441"/>
          </a:xfrm>
          <a:solidFill>
            <a:schemeClr val="bg1">
              <a:lumMod val="85000"/>
              <a:alpha val="67000"/>
            </a:schemeClr>
          </a:solidFill>
        </p:grpSpPr>
        <p:sp>
          <p:nvSpPr>
            <p:cNvPr id="24" name="Rounded Rectangle 25"/>
            <p:cNvSpPr/>
            <p:nvPr/>
          </p:nvSpPr>
          <p:spPr>
            <a:xfrm>
              <a:off x="3600000" y="5715000"/>
              <a:ext cx="625379" cy="654441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bg1"/>
                  </a:solidFill>
                </a:rPr>
                <a:t>8</a:t>
              </a:r>
              <a:endParaRPr lang="pt-PT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25" name="Rounded Rectangle 26"/>
            <p:cNvSpPr/>
            <p:nvPr/>
          </p:nvSpPr>
          <p:spPr>
            <a:xfrm>
              <a:off x="4397983" y="5715000"/>
              <a:ext cx="5221817" cy="654441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bg1"/>
                  </a:solidFill>
                </a:rPr>
                <a:t>Licenciamento e Fiscalização</a:t>
              </a:r>
              <a:endParaRPr lang="pt-PT" sz="16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7" name="Group 24"/>
          <p:cNvGrpSpPr/>
          <p:nvPr/>
        </p:nvGrpSpPr>
        <p:grpSpPr>
          <a:xfrm>
            <a:off x="2102663" y="3489356"/>
            <a:ext cx="6019800" cy="471989"/>
            <a:chOff x="3600000" y="5715000"/>
            <a:chExt cx="6019800" cy="654441"/>
          </a:xfrm>
          <a:solidFill>
            <a:schemeClr val="bg1">
              <a:lumMod val="85000"/>
              <a:alpha val="67000"/>
            </a:schemeClr>
          </a:solidFill>
        </p:grpSpPr>
        <p:sp>
          <p:nvSpPr>
            <p:cNvPr id="27" name="Rounded Rectangle 25"/>
            <p:cNvSpPr/>
            <p:nvPr/>
          </p:nvSpPr>
          <p:spPr>
            <a:xfrm>
              <a:off x="3600000" y="5715000"/>
              <a:ext cx="625379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5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28" name="Rounded Rectangle 26"/>
            <p:cNvSpPr/>
            <p:nvPr/>
          </p:nvSpPr>
          <p:spPr>
            <a:xfrm>
              <a:off x="4397983" y="5715000"/>
              <a:ext cx="5221817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Projectos Estruturantes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95536" y="1266824"/>
            <a:ext cx="5843339" cy="904876"/>
          </a:xfrm>
          <a:prstGeom prst="roundRect">
            <a:avLst>
              <a:gd name="adj" fmla="val 16667"/>
            </a:avLst>
          </a:prstGeom>
          <a:solidFill>
            <a:srgbClr val="CCFFCC"/>
          </a:soli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marL="166688" indent="-179388">
              <a:buSzPct val="125000"/>
            </a:pPr>
            <a:endParaRPr lang="pt-PT" sz="1100" b="0" dirty="0" smtClean="0">
              <a:solidFill>
                <a:schemeClr val="tx2"/>
              </a:solidFill>
              <a:effectLst/>
            </a:endParaRPr>
          </a:p>
          <a:p>
            <a:pPr marL="166688" indent="-179388">
              <a:buSzPct val="125000"/>
              <a:buFontTx/>
              <a:buChar char="•"/>
            </a:pPr>
            <a:endParaRPr lang="pt-PT" sz="1100" dirty="0" smtClean="0">
              <a:solidFill>
                <a:schemeClr val="tx2"/>
              </a:solidFill>
            </a:endParaRPr>
          </a:p>
          <a:p>
            <a:pPr marL="166688" indent="-179388">
              <a:buSzPct val="125000"/>
              <a:buFontTx/>
              <a:buChar char="•"/>
            </a:pPr>
            <a:r>
              <a:rPr lang="pt-PT" sz="1100" b="1" dirty="0" smtClean="0">
                <a:solidFill>
                  <a:schemeClr val="tx1"/>
                </a:solidFill>
                <a:effectLst/>
              </a:rPr>
              <a:t>Lei Geral de Electricidade – Lei nº 14-A/96 de 31/05 </a:t>
            </a:r>
          </a:p>
          <a:p>
            <a:pPr marL="166688" indent="-179388">
              <a:buSzPct val="125000"/>
              <a:buFontTx/>
              <a:buChar char="•"/>
            </a:pPr>
            <a:r>
              <a:rPr lang="pt-PT" sz="1100" b="1" dirty="0" smtClean="0">
                <a:solidFill>
                  <a:schemeClr val="tx1"/>
                </a:solidFill>
              </a:rPr>
              <a:t>Regulamento da produção de energia eléctrica - Decreto nº 47/01 de 20/07</a:t>
            </a:r>
          </a:p>
          <a:p>
            <a:pPr marL="166688" indent="-179388">
              <a:buSzPct val="125000"/>
              <a:buFontTx/>
              <a:buChar char="•"/>
            </a:pPr>
            <a:r>
              <a:rPr lang="pt-PT" sz="1100" b="1" dirty="0" smtClean="0">
                <a:solidFill>
                  <a:schemeClr val="tx1"/>
                </a:solidFill>
              </a:rPr>
              <a:t>Regulamento do fornecimento de energia eléctrica - Decreto nº 27/01 de 18/05</a:t>
            </a:r>
          </a:p>
          <a:p>
            <a:pPr marL="166688" indent="-179388">
              <a:buSzPct val="125000"/>
              <a:buFontTx/>
              <a:buChar char="•"/>
            </a:pPr>
            <a:r>
              <a:rPr lang="pt-PT" sz="1100" b="1" dirty="0" smtClean="0">
                <a:solidFill>
                  <a:schemeClr val="tx1"/>
                </a:solidFill>
              </a:rPr>
              <a:t>Regulamento de distribuição de energia eléctrica - Decreto nº 45/01 de 13/07</a:t>
            </a:r>
          </a:p>
          <a:p>
            <a:pPr marL="166688" indent="-179388">
              <a:buSzPct val="125000"/>
              <a:buFontTx/>
              <a:buChar char="•"/>
            </a:pPr>
            <a:endParaRPr lang="pt-PT" sz="1100" b="1" dirty="0" smtClean="0">
              <a:solidFill>
                <a:schemeClr val="tx2"/>
              </a:solidFill>
              <a:effectLst/>
            </a:endParaRPr>
          </a:p>
          <a:p>
            <a:pPr marL="266700" indent="-95250">
              <a:buClr>
                <a:schemeClr val="bg1"/>
              </a:buClr>
              <a:buSzPct val="125000"/>
            </a:pPr>
            <a:r>
              <a:rPr lang="pt-PT" sz="1100" b="0" dirty="0" smtClean="0">
                <a:solidFill>
                  <a:schemeClr val="tx2"/>
                </a:solidFill>
                <a:effectLst/>
              </a:rPr>
              <a:t>.</a:t>
            </a:r>
            <a:endParaRPr lang="pt-PT" sz="1100" dirty="0">
              <a:solidFill>
                <a:schemeClr val="tx2"/>
              </a:solidFill>
              <a:effectLst/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395536" y="989825"/>
            <a:ext cx="2037737" cy="276999"/>
          </a:xfrm>
          <a:prstGeom prst="rect">
            <a:avLst/>
          </a:prstGeom>
          <a:ln w="9525"/>
        </p:spPr>
        <p:txBody>
          <a:bodyPr wrap="none" lIns="91440" tIns="45720" rIns="91440" bIns="4572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pt-P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6">
                    <a:lumMod val="60000"/>
                    <a:lumOff val="4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nquadramento Jurídico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6377236" y="1033464"/>
            <a:ext cx="3222357" cy="276999"/>
          </a:xfrm>
          <a:prstGeom prst="rect">
            <a:avLst/>
          </a:prstGeom>
          <a:ln w="9525"/>
        </p:spPr>
        <p:txBody>
          <a:bodyPr wrap="none" lIns="91440" tIns="45720" rIns="91440" bIns="4572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pt-P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6">
                    <a:lumMod val="60000"/>
                    <a:lumOff val="4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nquadramento Jurídico - Administrativo</a:t>
            </a:r>
          </a:p>
        </p:txBody>
      </p:sp>
      <p:sp>
        <p:nvSpPr>
          <p:cNvPr id="8" name="AutoShap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416681" y="1271589"/>
            <a:ext cx="3268638" cy="833436"/>
          </a:xfrm>
          <a:prstGeom prst="roundRect">
            <a:avLst>
              <a:gd name="adj" fmla="val 16667"/>
            </a:avLst>
          </a:prstGeom>
          <a:solidFill>
            <a:srgbClr val="CCFFCC"/>
          </a:soli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marL="166688" indent="-179388">
              <a:buSzPct val="125000"/>
              <a:buFont typeface="Arial" pitchFamily="34" charset="0"/>
              <a:buChar char="•"/>
            </a:pPr>
            <a:endParaRPr lang="pt-PT" sz="1100" b="1" dirty="0" smtClean="0">
              <a:solidFill>
                <a:schemeClr val="tx1"/>
              </a:solidFill>
              <a:effectLst/>
            </a:endParaRPr>
          </a:p>
          <a:p>
            <a:pPr marL="166688" indent="-179388">
              <a:buSzPct val="125000"/>
              <a:buFont typeface="Arial" pitchFamily="34" charset="0"/>
              <a:buChar char="•"/>
            </a:pPr>
            <a:r>
              <a:rPr lang="pt-PT" sz="1100" b="1" dirty="0" smtClean="0">
                <a:solidFill>
                  <a:schemeClr val="tx1"/>
                </a:solidFill>
                <a:effectLst/>
              </a:rPr>
              <a:t>Decreto nº 39/04 de 2 de Julho</a:t>
            </a:r>
          </a:p>
          <a:p>
            <a:pPr marL="166688" indent="-179388">
              <a:buSzPct val="125000"/>
              <a:buFont typeface="Arial" pitchFamily="34" charset="0"/>
              <a:buChar char="•"/>
            </a:pPr>
            <a:r>
              <a:rPr lang="pt-PT" sz="1100" b="1" dirty="0" smtClean="0">
                <a:solidFill>
                  <a:schemeClr val="tx1"/>
                </a:solidFill>
              </a:rPr>
              <a:t>Decreto nº 40/04 de 2 de Julho</a:t>
            </a:r>
          </a:p>
          <a:p>
            <a:pPr marL="166688" indent="-179388">
              <a:buSzPct val="125000"/>
              <a:buFont typeface="Arial" pitchFamily="34" charset="0"/>
              <a:buChar char="•"/>
            </a:pPr>
            <a:r>
              <a:rPr lang="pt-PT" sz="1100" b="1" dirty="0" smtClean="0">
                <a:solidFill>
                  <a:schemeClr val="tx1"/>
                </a:solidFill>
              </a:rPr>
              <a:t>Decreto nº 41/04 de 2 de Julho </a:t>
            </a:r>
            <a:endParaRPr lang="pt-PT" sz="1100" b="1" dirty="0" smtClean="0">
              <a:solidFill>
                <a:schemeClr val="tx1"/>
              </a:solidFill>
              <a:effectLst/>
            </a:endParaRPr>
          </a:p>
          <a:p>
            <a:pPr marL="166688" indent="-179388">
              <a:buClr>
                <a:schemeClr val="bg1"/>
              </a:buClr>
              <a:buSzPct val="125000"/>
            </a:pPr>
            <a:endParaRPr lang="pt-PT" sz="1100" b="1" dirty="0" smtClean="0">
              <a:solidFill>
                <a:schemeClr val="tx2"/>
              </a:solidFill>
              <a:effectLst/>
            </a:endParaRPr>
          </a:p>
        </p:txBody>
      </p:sp>
      <p:sp>
        <p:nvSpPr>
          <p:cNvPr id="11" name="Rectângulo 10"/>
          <p:cNvSpPr/>
          <p:nvPr/>
        </p:nvSpPr>
        <p:spPr>
          <a:xfrm>
            <a:off x="-109288" y="2671584"/>
            <a:ext cx="5509963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23888" lvl="1" indent="-180975" algn="just">
              <a:buClr>
                <a:schemeClr val="tx2"/>
              </a:buClr>
              <a:buSzPct val="125000"/>
            </a:pPr>
            <a:r>
              <a:rPr lang="pt-PT" sz="1200" b="1" dirty="0" smtClean="0"/>
              <a:t>1ª Categoria: </a:t>
            </a:r>
            <a:r>
              <a:rPr lang="pt-PT" sz="1200" dirty="0" smtClean="0"/>
              <a:t>Linhas MAT, AT e MT, Subestações MAT/AT e MT/MT, </a:t>
            </a:r>
          </a:p>
          <a:p>
            <a:pPr marL="623888" lvl="1" indent="-180975" algn="just">
              <a:buClr>
                <a:schemeClr val="tx2"/>
              </a:buClr>
              <a:buSzPct val="125000"/>
            </a:pPr>
            <a:r>
              <a:rPr lang="pt-PT" sz="1200" dirty="0" smtClean="0"/>
              <a:t>	Centrais Hídricas e Térmicas ;</a:t>
            </a:r>
          </a:p>
          <a:p>
            <a:pPr marL="623888" lvl="1" indent="-180975" algn="just">
              <a:buClr>
                <a:schemeClr val="tx2"/>
              </a:buClr>
              <a:buSzPct val="125000"/>
            </a:pPr>
            <a:r>
              <a:rPr lang="pt-PT" sz="1200" b="1" dirty="0" smtClean="0"/>
              <a:t>2ª categoria:</a:t>
            </a:r>
            <a:r>
              <a:rPr lang="pt-PT" sz="1200" dirty="0" smtClean="0"/>
              <a:t> Instalações de interesse público: Iluminação Pública, tracção eléctrica Urbana e Suburbana</a:t>
            </a:r>
          </a:p>
          <a:p>
            <a:pPr marL="623888" lvl="1" indent="-180975" algn="just">
              <a:buClr>
                <a:schemeClr val="tx2"/>
              </a:buClr>
              <a:buSzPct val="125000"/>
            </a:pPr>
            <a:r>
              <a:rPr lang="pt-PT" sz="1200" b="1" dirty="0" smtClean="0"/>
              <a:t>3ª categoria:</a:t>
            </a:r>
            <a:r>
              <a:rPr lang="pt-PT" sz="1200" dirty="0" smtClean="0"/>
              <a:t> Instalações eléctricas alimentadas por energia própria, que</a:t>
            </a:r>
          </a:p>
          <a:p>
            <a:pPr marL="623888" lvl="1" indent="-180975" algn="just">
              <a:buClr>
                <a:schemeClr val="tx2"/>
              </a:buClr>
              <a:buSzPct val="125000"/>
            </a:pPr>
            <a:r>
              <a:rPr lang="pt-PT" sz="1200" dirty="0" smtClean="0"/>
              <a:t>	não estejam compreendidas nas categorias anteriores e se destinem ao</a:t>
            </a:r>
          </a:p>
          <a:p>
            <a:pPr marL="623888" lvl="1" indent="-180975" algn="just">
              <a:buClr>
                <a:schemeClr val="tx2"/>
              </a:buClr>
              <a:buSzPct val="125000"/>
            </a:pPr>
            <a:r>
              <a:rPr lang="pt-PT" sz="1200" dirty="0" smtClean="0"/>
              <a:t>	Fornecimento energia eléctrica para qualquer serviço público ou particular;</a:t>
            </a:r>
          </a:p>
          <a:p>
            <a:pPr marL="623888" lvl="1" indent="-180975" algn="just">
              <a:buClr>
                <a:schemeClr val="tx2"/>
              </a:buClr>
              <a:buSzPct val="125000"/>
            </a:pPr>
            <a:r>
              <a:rPr lang="pt-PT" sz="1200" b="1" dirty="0" smtClean="0"/>
              <a:t>4ª Categoria: </a:t>
            </a:r>
            <a:r>
              <a:rPr lang="pt-PT" sz="1200" dirty="0" smtClean="0"/>
              <a:t>Postos de Transformação de clientes;</a:t>
            </a:r>
          </a:p>
          <a:p>
            <a:pPr marL="623888" lvl="1" indent="-180975" algn="just">
              <a:buClr>
                <a:schemeClr val="tx2"/>
              </a:buClr>
              <a:buSzPct val="125000"/>
            </a:pPr>
            <a:r>
              <a:rPr lang="pt-PT" sz="1200" b="1" dirty="0" smtClean="0"/>
              <a:t>5ª Categoria: </a:t>
            </a:r>
            <a:r>
              <a:rPr lang="pt-PT" sz="1200" dirty="0" smtClean="0"/>
              <a:t>Geradores </a:t>
            </a:r>
            <a:r>
              <a:rPr lang="pt-PT" sz="1200" dirty="0" err="1" smtClean="0"/>
              <a:t>Electrogêneos</a:t>
            </a:r>
            <a:r>
              <a:rPr lang="pt-PT" sz="1200" dirty="0" smtClean="0"/>
              <a:t>;</a:t>
            </a:r>
          </a:p>
          <a:p>
            <a:pPr marL="623888" lvl="1" indent="-180975" algn="just">
              <a:buClr>
                <a:schemeClr val="tx2"/>
              </a:buClr>
              <a:buSzPct val="125000"/>
            </a:pPr>
            <a:r>
              <a:rPr lang="pt-PT" sz="1200" b="1" dirty="0" smtClean="0"/>
              <a:t>7ª Categoria: </a:t>
            </a:r>
            <a:r>
              <a:rPr lang="pt-PT" sz="1200" dirty="0" smtClean="0"/>
              <a:t>Instalações de utilização BT de carácter permanente </a:t>
            </a:r>
          </a:p>
          <a:p>
            <a:pPr marL="623888" lvl="1" indent="-180975" algn="just">
              <a:buClr>
                <a:schemeClr val="tx2"/>
              </a:buClr>
              <a:buSzPct val="125000"/>
            </a:pPr>
            <a:r>
              <a:rPr lang="pt-PT" sz="1200" dirty="0" smtClean="0"/>
              <a:t>	não residenciais ou residenciais com potência superior a 50 </a:t>
            </a:r>
            <a:r>
              <a:rPr lang="pt-PT" sz="1200" dirty="0" err="1" smtClean="0"/>
              <a:t>kVA</a:t>
            </a:r>
            <a:r>
              <a:rPr lang="pt-PT" sz="1200" dirty="0" smtClean="0"/>
              <a:t>;</a:t>
            </a:r>
          </a:p>
          <a:p>
            <a:pPr marL="623888" lvl="1" indent="-180975" algn="just">
              <a:buClr>
                <a:schemeClr val="tx2"/>
              </a:buClr>
              <a:buSzPct val="125000"/>
            </a:pPr>
            <a:r>
              <a:rPr lang="pt-PT" sz="1200" b="1" dirty="0" smtClean="0"/>
              <a:t>8ª Categoria: </a:t>
            </a:r>
            <a:r>
              <a:rPr lang="pt-PT" sz="1200" dirty="0" smtClean="0"/>
              <a:t>Instalações BT residenciais até 50 </a:t>
            </a:r>
            <a:r>
              <a:rPr lang="pt-PT" sz="1200" dirty="0" err="1" smtClean="0"/>
              <a:t>kVA</a:t>
            </a:r>
            <a:r>
              <a:rPr lang="pt-PT" sz="1200" dirty="0" smtClean="0"/>
              <a:t>;</a:t>
            </a:r>
          </a:p>
          <a:p>
            <a:pPr marL="623888" lvl="1" indent="-180975" algn="just">
              <a:buClr>
                <a:schemeClr val="tx2"/>
              </a:buClr>
              <a:buSzPct val="125000"/>
            </a:pPr>
            <a:r>
              <a:rPr lang="pt-PT" sz="1200" b="1" dirty="0" smtClean="0"/>
              <a:t>8ª  Categoria Especial: </a:t>
            </a:r>
            <a:r>
              <a:rPr lang="pt-PT" sz="1200" dirty="0" smtClean="0"/>
              <a:t>Elevadores;</a:t>
            </a:r>
          </a:p>
          <a:p>
            <a:pPr marL="623888" lvl="1" indent="-180975" algn="just">
              <a:buClr>
                <a:schemeClr val="tx2"/>
              </a:buClr>
              <a:buSzPct val="125000"/>
            </a:pPr>
            <a:r>
              <a:rPr lang="pt-PT" sz="1200" b="1" dirty="0" smtClean="0"/>
              <a:t>9ª Categoria: </a:t>
            </a:r>
            <a:r>
              <a:rPr lang="pt-PT" sz="1200" dirty="0" smtClean="0"/>
              <a:t>Instalações eléctricas BT de carácter provisório não superior a 3 meses;</a:t>
            </a:r>
          </a:p>
          <a:p>
            <a:pPr marL="623888" lvl="1" indent="-180975" algn="just">
              <a:buClr>
                <a:schemeClr val="tx2"/>
              </a:buClr>
              <a:buSzPct val="125000"/>
            </a:pPr>
            <a:r>
              <a:rPr lang="pt-PT" sz="1200" b="1" dirty="0" smtClean="0"/>
              <a:t>10ªCategoria: </a:t>
            </a:r>
            <a:r>
              <a:rPr lang="pt-PT" sz="1200" dirty="0" smtClean="0"/>
              <a:t>Instalações eléctricas de carácter provisório e curta duração.</a:t>
            </a:r>
            <a:endParaRPr lang="pt-PT" sz="1200" b="1" dirty="0" smtClean="0"/>
          </a:p>
        </p:txBody>
      </p:sp>
      <p:sp>
        <p:nvSpPr>
          <p:cNvPr id="12" name="Rectângulo arredondado 11"/>
          <p:cNvSpPr/>
          <p:nvPr/>
        </p:nvSpPr>
        <p:spPr bwMode="gray">
          <a:xfrm>
            <a:off x="214562" y="2543059"/>
            <a:ext cx="5176588" cy="3914177"/>
          </a:xfrm>
          <a:prstGeom prst="roundRect">
            <a:avLst/>
          </a:prstGeom>
          <a:noFill/>
          <a:ln w="6350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88900" indent="-88900" algn="just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</a:pPr>
            <a:endParaRPr lang="pt-PT" sz="1000" kern="0" dirty="0" smtClean="0">
              <a:solidFill>
                <a:sysClr val="windowText" lastClr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13" name="CaixaDeTexto 12"/>
          <p:cNvSpPr txBox="1"/>
          <p:nvPr/>
        </p:nvSpPr>
        <p:spPr>
          <a:xfrm>
            <a:off x="5667375" y="2699325"/>
            <a:ext cx="2331087" cy="276999"/>
          </a:xfrm>
          <a:prstGeom prst="rect">
            <a:avLst/>
          </a:prstGeom>
          <a:ln w="9525"/>
        </p:spPr>
        <p:txBody>
          <a:bodyPr wrap="none" lIns="91440" tIns="45720" rIns="91440" bIns="4572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lang="pt-PT" sz="1200" b="1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cs typeface="+mn-cs"/>
              </a:rPr>
              <a:t>Licença de Estabelecimento</a:t>
            </a:r>
          </a:p>
        </p:txBody>
      </p:sp>
      <p:sp>
        <p:nvSpPr>
          <p:cNvPr id="14" name="CaixaDeTexto 13"/>
          <p:cNvSpPr txBox="1"/>
          <p:nvPr/>
        </p:nvSpPr>
        <p:spPr>
          <a:xfrm>
            <a:off x="5915025" y="2969002"/>
            <a:ext cx="3703620" cy="600164"/>
          </a:xfrm>
          <a:prstGeom prst="rect">
            <a:avLst/>
          </a:prstGeom>
          <a:ln w="9525"/>
        </p:spPr>
        <p:txBody>
          <a:bodyPr wrap="square" lIns="91440" tIns="45720" rIns="91440" bIns="45720" rtlCol="0">
            <a:spAutoFit/>
          </a:bodyPr>
          <a:lstStyle/>
          <a:p>
            <a:pPr algn="just">
              <a:buClr>
                <a:schemeClr val="bg1"/>
              </a:buClr>
              <a:buSzPct val="125000"/>
            </a:pPr>
            <a:r>
              <a:rPr lang="pt-PT" sz="1100" dirty="0" smtClean="0"/>
              <a:t>Autorização concedida pela Entidade Licenciadora e que permite o início da construção de uma instalação eléctrica</a:t>
            </a:r>
            <a:endParaRPr kumimoji="0" lang="pt-PT" sz="11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5" name="CaixaDeTexto 14"/>
          <p:cNvSpPr txBox="1"/>
          <p:nvPr/>
        </p:nvSpPr>
        <p:spPr>
          <a:xfrm>
            <a:off x="300286" y="2289810"/>
            <a:ext cx="4157414" cy="276999"/>
          </a:xfrm>
          <a:prstGeom prst="rect">
            <a:avLst/>
          </a:prstGeom>
          <a:ln w="9525"/>
        </p:spPr>
        <p:txBody>
          <a:bodyPr wrap="square" lIns="91440" tIns="45720" rIns="91440" bIns="45720" rtlCol="0">
            <a:spAutoFit/>
          </a:bodyPr>
          <a:lstStyle/>
          <a:p>
            <a:pPr marL="171450" lvl="1">
              <a:spcAft>
                <a:spcPts val="600"/>
              </a:spcAft>
              <a:buClr>
                <a:schemeClr val="tx2"/>
              </a:buClr>
              <a:buSzPct val="125000"/>
              <a:tabLst>
                <a:tab pos="628650" algn="l"/>
              </a:tabLst>
            </a:pPr>
            <a:r>
              <a:rPr lang="pt-PT" sz="1200" b="1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rPr>
              <a:t>Classificação das Instalações Eléctricas a Licenciar</a:t>
            </a:r>
          </a:p>
        </p:txBody>
      </p:sp>
      <p:sp>
        <p:nvSpPr>
          <p:cNvPr id="17" name="Rectângulo arredondado 16"/>
          <p:cNvSpPr/>
          <p:nvPr/>
        </p:nvSpPr>
        <p:spPr bwMode="gray">
          <a:xfrm>
            <a:off x="5724525" y="2949952"/>
            <a:ext cx="3960794" cy="574298"/>
          </a:xfrm>
          <a:prstGeom prst="roundRect">
            <a:avLst/>
          </a:prstGeom>
          <a:noFill/>
          <a:ln w="6350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88900" indent="-88900" algn="just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</a:pPr>
            <a:endParaRPr lang="pt-PT" sz="1000" kern="0" dirty="0" smtClean="0">
              <a:solidFill>
                <a:sysClr val="windowText" lastClr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19" name="CaixaDeTexto 18"/>
          <p:cNvSpPr txBox="1"/>
          <p:nvPr/>
        </p:nvSpPr>
        <p:spPr>
          <a:xfrm>
            <a:off x="5638801" y="3661350"/>
            <a:ext cx="1911101" cy="276999"/>
          </a:xfrm>
          <a:prstGeom prst="rect">
            <a:avLst/>
          </a:prstGeom>
          <a:ln w="9525"/>
        </p:spPr>
        <p:txBody>
          <a:bodyPr wrap="none" lIns="91440" tIns="45720" rIns="91440" bIns="4572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lang="pt-PT" sz="1200" b="1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cs typeface="+mn-cs"/>
              </a:rPr>
              <a:t>Licença de Exploração</a:t>
            </a:r>
          </a:p>
        </p:txBody>
      </p:sp>
      <p:sp>
        <p:nvSpPr>
          <p:cNvPr id="20" name="CaixaDeTexto 19"/>
          <p:cNvSpPr txBox="1"/>
          <p:nvPr/>
        </p:nvSpPr>
        <p:spPr>
          <a:xfrm>
            <a:off x="5886451" y="3931027"/>
            <a:ext cx="3703620" cy="600164"/>
          </a:xfrm>
          <a:prstGeom prst="rect">
            <a:avLst/>
          </a:prstGeom>
          <a:ln w="9525"/>
        </p:spPr>
        <p:txBody>
          <a:bodyPr wrap="square" lIns="91440" tIns="45720" rIns="91440" bIns="45720" rtlCol="0">
            <a:spAutoFit/>
          </a:bodyPr>
          <a:lstStyle/>
          <a:p>
            <a:pPr algn="just">
              <a:buClr>
                <a:schemeClr val="bg1"/>
              </a:buClr>
              <a:buSzPct val="125000"/>
            </a:pPr>
            <a:r>
              <a:rPr lang="pt-PT" sz="1100" dirty="0" smtClean="0"/>
              <a:t>Autorização concedida pela Entidade Licenciadora e que permite a entrada em serviço de uma instalação eléctrica</a:t>
            </a:r>
            <a:endParaRPr kumimoji="0" lang="pt-PT" sz="11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1" name="Rectângulo arredondado 20"/>
          <p:cNvSpPr/>
          <p:nvPr/>
        </p:nvSpPr>
        <p:spPr bwMode="gray">
          <a:xfrm>
            <a:off x="5695951" y="3911977"/>
            <a:ext cx="3960794" cy="574298"/>
          </a:xfrm>
          <a:prstGeom prst="roundRect">
            <a:avLst/>
          </a:prstGeom>
          <a:noFill/>
          <a:ln w="6350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88900" indent="-88900" algn="just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</a:pPr>
            <a:endParaRPr lang="pt-PT" sz="1000" kern="0" dirty="0" smtClean="0">
              <a:solidFill>
                <a:sysClr val="windowText" lastClr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22" name="Rectângulo arredondado 21"/>
          <p:cNvSpPr/>
          <p:nvPr/>
        </p:nvSpPr>
        <p:spPr bwMode="gray">
          <a:xfrm>
            <a:off x="5581650" y="2613809"/>
            <a:ext cx="4170344" cy="2129641"/>
          </a:xfrm>
          <a:prstGeom prst="roundRect">
            <a:avLst/>
          </a:prstGeom>
          <a:noFill/>
          <a:ln w="28575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88900" indent="-88900" algn="just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</a:pPr>
            <a:endParaRPr lang="pt-PT" sz="1000" kern="0" dirty="0" smtClean="0">
              <a:solidFill>
                <a:sysClr val="windowText" lastClr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23" name="CaixaDeTexto 22"/>
          <p:cNvSpPr txBox="1"/>
          <p:nvPr/>
        </p:nvSpPr>
        <p:spPr>
          <a:xfrm>
            <a:off x="5667375" y="2336810"/>
            <a:ext cx="2012089" cy="276999"/>
          </a:xfrm>
          <a:prstGeom prst="rect">
            <a:avLst/>
          </a:prstGeom>
          <a:ln w="9525"/>
        </p:spPr>
        <p:txBody>
          <a:bodyPr wrap="none" lIns="91440" tIns="45720" rIns="91440" bIns="4572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pt-P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6">
                    <a:lumMod val="60000"/>
                    <a:lumOff val="4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ipos de Licenciamento</a:t>
            </a:r>
          </a:p>
        </p:txBody>
      </p:sp>
      <p:sp>
        <p:nvSpPr>
          <p:cNvPr id="24" name="CaixaDeTexto 23"/>
          <p:cNvSpPr txBox="1"/>
          <p:nvPr/>
        </p:nvSpPr>
        <p:spPr>
          <a:xfrm>
            <a:off x="5610225" y="4780925"/>
            <a:ext cx="1257075" cy="276999"/>
          </a:xfrm>
          <a:prstGeom prst="rect">
            <a:avLst/>
          </a:prstGeom>
          <a:ln w="9525"/>
        </p:spPr>
        <p:txBody>
          <a:bodyPr wrap="none" lIns="91440" tIns="45720" rIns="91440" bIns="4572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lang="pt-PT" sz="1200" b="1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cs typeface="+mn-cs"/>
              </a:rPr>
              <a:t>Tipos de Taxas</a:t>
            </a:r>
          </a:p>
        </p:txBody>
      </p:sp>
      <p:sp>
        <p:nvSpPr>
          <p:cNvPr id="25" name="CaixaDeTexto 24"/>
          <p:cNvSpPr txBox="1"/>
          <p:nvPr/>
        </p:nvSpPr>
        <p:spPr>
          <a:xfrm>
            <a:off x="5638800" y="5038874"/>
            <a:ext cx="4113193" cy="1415772"/>
          </a:xfrm>
          <a:prstGeom prst="rect">
            <a:avLst/>
          </a:prstGeom>
          <a:ln w="9525"/>
        </p:spPr>
        <p:txBody>
          <a:bodyPr wrap="square" lIns="91440" tIns="45720" rIns="91440" bIns="45720" rtlCol="0">
            <a:spAutoFit/>
          </a:bodyPr>
          <a:lstStyle/>
          <a:p>
            <a:pPr>
              <a:spcAft>
                <a:spcPts val="600"/>
              </a:spcAft>
            </a:pPr>
            <a:r>
              <a:rPr lang="pt-PT" sz="1100" b="1" dirty="0" smtClean="0"/>
              <a:t>Taxas de Estabelecimento </a:t>
            </a:r>
            <a:r>
              <a:rPr lang="pt-PT" sz="1100" dirty="0" smtClean="0"/>
              <a:t>(para inicio construção de uma instalação eléctrica)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pt-PT" sz="1100" b="1" dirty="0" smtClean="0"/>
              <a:t>Taxas de Exploração </a:t>
            </a:r>
            <a:r>
              <a:rPr lang="pt-PT" sz="1100" dirty="0" smtClean="0"/>
              <a:t>(para entrada em exploração e devida anualmente enquanto estiver em exploração)</a:t>
            </a:r>
          </a:p>
          <a:p>
            <a:pPr>
              <a:spcBef>
                <a:spcPts val="600"/>
              </a:spcBef>
            </a:pPr>
            <a:r>
              <a:rPr lang="pt-PT" sz="1100" b="1" dirty="0" smtClean="0"/>
              <a:t>Taxas de inscrição para Técnicos Responsáveis </a:t>
            </a:r>
            <a:r>
              <a:rPr lang="pt-PT" sz="1100" dirty="0" smtClean="0"/>
              <a:t>(devida anualmente)</a:t>
            </a:r>
            <a:endParaRPr lang="pt-PT" sz="1100" dirty="0"/>
          </a:p>
        </p:txBody>
      </p:sp>
      <p:sp>
        <p:nvSpPr>
          <p:cNvPr id="27" name="Rectângulo arredondado 26"/>
          <p:cNvSpPr/>
          <p:nvPr/>
        </p:nvSpPr>
        <p:spPr bwMode="gray">
          <a:xfrm>
            <a:off x="5572125" y="5029349"/>
            <a:ext cx="4017945" cy="1415772"/>
          </a:xfrm>
          <a:prstGeom prst="roundRect">
            <a:avLst/>
          </a:prstGeom>
          <a:noFill/>
          <a:ln w="6350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88900" indent="-88900" algn="just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</a:pPr>
            <a:endParaRPr lang="pt-PT" sz="1000" kern="0" dirty="0" smtClean="0">
              <a:solidFill>
                <a:sysClr val="windowText" lastClr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28" name="CaixaDeTexto 27"/>
          <p:cNvSpPr txBox="1"/>
          <p:nvPr/>
        </p:nvSpPr>
        <p:spPr>
          <a:xfrm>
            <a:off x="2201741" y="183216"/>
            <a:ext cx="3989509" cy="584775"/>
          </a:xfrm>
          <a:prstGeom prst="rect">
            <a:avLst/>
          </a:prstGeom>
          <a:ln w="9525"/>
        </p:spPr>
        <p:txBody>
          <a:bodyPr wrap="square" lIns="91440" tIns="45720" rIns="91440" bIns="45720" rtlCol="0"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lang="pt-PT" sz="1600" b="1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cs typeface="+mn-cs"/>
              </a:rPr>
              <a:t>Licenciamento e Fiscalização de Instalações Eléctricas</a:t>
            </a:r>
            <a:endParaRPr kumimoji="0" lang="pt-PT" sz="1600" b="1" i="0" u="none" strike="noStrike" kern="1200" cap="none" spc="0" normalizeH="0" baseline="0" noProof="0" dirty="0" smtClean="0">
              <a:ln>
                <a:noFill/>
              </a:ln>
              <a:solidFill>
                <a:schemeClr val="accent6">
                  <a:lumMod val="60000"/>
                  <a:lumOff val="4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9" name="Rounded Rectangle 26"/>
          <p:cNvSpPr/>
          <p:nvPr/>
        </p:nvSpPr>
        <p:spPr>
          <a:xfrm>
            <a:off x="6521105" y="114300"/>
            <a:ext cx="3251546" cy="654441"/>
          </a:xfrm>
          <a:prstGeom prst="roundRect">
            <a:avLst/>
          </a:prstGeom>
          <a:solidFill>
            <a:schemeClr val="bg1">
              <a:lumMod val="85000"/>
              <a:alpha val="67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Ins="36000" rtlCol="0" anchor="ctr"/>
          <a:lstStyle/>
          <a:p>
            <a:r>
              <a:rPr lang="pt-PT" sz="1600" b="1" dirty="0" smtClean="0">
                <a:solidFill>
                  <a:schemeClr val="tx1"/>
                </a:solidFill>
              </a:rPr>
              <a:t>Licenciamento e Fiscalização</a:t>
            </a:r>
            <a:endParaRPr lang="pt-PT" sz="1600" b="1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26"/>
          <p:cNvSpPr/>
          <p:nvPr/>
        </p:nvSpPr>
        <p:spPr>
          <a:xfrm>
            <a:off x="6521105" y="142875"/>
            <a:ext cx="3251546" cy="654441"/>
          </a:xfrm>
          <a:prstGeom prst="roundRect">
            <a:avLst/>
          </a:prstGeom>
          <a:solidFill>
            <a:schemeClr val="bg1">
              <a:lumMod val="85000"/>
              <a:alpha val="67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Ins="36000" rtlCol="0" anchor="ctr"/>
          <a:lstStyle/>
          <a:p>
            <a:r>
              <a:rPr lang="pt-PT" sz="1600" b="1" dirty="0" smtClean="0">
                <a:solidFill>
                  <a:schemeClr val="tx1"/>
                </a:solidFill>
              </a:rPr>
              <a:t>Licenciamento e Fiscalização</a:t>
            </a:r>
            <a:endParaRPr lang="pt-PT" sz="1600" b="1" dirty="0">
              <a:solidFill>
                <a:schemeClr val="tx1"/>
              </a:solidFill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381125" y="183216"/>
            <a:ext cx="5139980" cy="584775"/>
          </a:xfrm>
          <a:prstGeom prst="rect">
            <a:avLst/>
          </a:prstGeom>
          <a:ln w="9525"/>
        </p:spPr>
        <p:txBody>
          <a:bodyPr wrap="square" lIns="91440" tIns="45720" rIns="91440" bIns="45720" rtlCol="0"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lang="pt-PT" sz="1600" b="1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cs typeface="+mn-cs"/>
              </a:rPr>
              <a:t>Licenciamento e Fiscalização de Instalações Eléctricas Indicadores de Actividade</a:t>
            </a:r>
            <a:endParaRPr kumimoji="0" lang="pt-PT" sz="1600" b="1" i="0" u="none" strike="noStrike" kern="1200" cap="none" spc="0" normalizeH="0" baseline="0" noProof="0" dirty="0" smtClean="0">
              <a:ln>
                <a:noFill/>
              </a:ln>
              <a:solidFill>
                <a:schemeClr val="accent6">
                  <a:lumMod val="60000"/>
                  <a:lumOff val="4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aphicFrame>
        <p:nvGraphicFramePr>
          <p:cNvPr id="4" name="Tabela 3"/>
          <p:cNvGraphicFramePr>
            <a:graphicFrameLocks noGrp="1"/>
          </p:cNvGraphicFramePr>
          <p:nvPr/>
        </p:nvGraphicFramePr>
        <p:xfrm>
          <a:off x="380347" y="1092541"/>
          <a:ext cx="4512289" cy="218168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563905"/>
                <a:gridCol w="675203"/>
                <a:gridCol w="641442"/>
                <a:gridCol w="708963"/>
                <a:gridCol w="922776"/>
              </a:tblGrid>
              <a:tr h="370840">
                <a:tc gridSpan="5">
                  <a:txBody>
                    <a:bodyPr/>
                    <a:lstStyle/>
                    <a:p>
                      <a:pPr algn="ctr"/>
                      <a:r>
                        <a:rPr lang="pt-PT" sz="1000" dirty="0" smtClean="0">
                          <a:solidFill>
                            <a:schemeClr val="bg1"/>
                          </a:solidFill>
                        </a:rPr>
                        <a:t>Licenciamentos de Estabelecimento e Exploração</a:t>
                      </a:r>
                      <a:endParaRPr lang="pt-PT" sz="10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pt-PT" sz="11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pt-PT" sz="11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pt-PT" sz="11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pt-PT" sz="11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PT" sz="1000" b="1" dirty="0" smtClean="0">
                          <a:solidFill>
                            <a:schemeClr val="bg1"/>
                          </a:solidFill>
                        </a:rPr>
                        <a:t>Designação</a:t>
                      </a:r>
                      <a:endParaRPr lang="pt-PT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b="1" dirty="0" smtClean="0">
                          <a:solidFill>
                            <a:schemeClr val="bg1"/>
                          </a:solidFill>
                        </a:rPr>
                        <a:t>2012</a:t>
                      </a:r>
                      <a:endParaRPr lang="pt-PT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b="1" dirty="0" smtClean="0">
                          <a:solidFill>
                            <a:schemeClr val="bg1"/>
                          </a:solidFill>
                        </a:rPr>
                        <a:t>2013</a:t>
                      </a:r>
                      <a:endParaRPr lang="pt-PT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b="1" dirty="0" smtClean="0">
                          <a:solidFill>
                            <a:schemeClr val="bg1"/>
                          </a:solidFill>
                        </a:rPr>
                        <a:t>2014</a:t>
                      </a:r>
                      <a:endParaRPr lang="pt-PT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b="1" dirty="0" smtClean="0">
                          <a:solidFill>
                            <a:schemeClr val="bg1"/>
                          </a:solidFill>
                        </a:rPr>
                        <a:t>1º Sem</a:t>
                      </a:r>
                      <a:r>
                        <a:rPr lang="pt-PT" sz="1000" b="1" baseline="0" dirty="0" smtClean="0">
                          <a:solidFill>
                            <a:schemeClr val="bg1"/>
                          </a:solidFill>
                        </a:rPr>
                        <a:t> 2015</a:t>
                      </a:r>
                      <a:endParaRPr lang="pt-PT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/>
                    </a:solidFill>
                  </a:tcPr>
                </a:tc>
              </a:tr>
              <a:tr h="288000">
                <a:tc>
                  <a:txBody>
                    <a:bodyPr/>
                    <a:lstStyle/>
                    <a:p>
                      <a:pPr algn="l"/>
                      <a:r>
                        <a:rPr lang="pt-PT" sz="1000" dirty="0" smtClean="0"/>
                        <a:t>Instalações BT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5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10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12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0</a:t>
                      </a:r>
                      <a:endParaRPr lang="pt-PT" sz="1000" dirty="0"/>
                    </a:p>
                  </a:txBody>
                  <a:tcPr anchor="ctr"/>
                </a:tc>
              </a:tr>
              <a:tr h="288000">
                <a:tc>
                  <a:txBody>
                    <a:bodyPr/>
                    <a:lstStyle/>
                    <a:p>
                      <a:pPr algn="l"/>
                      <a:r>
                        <a:rPr lang="pt-PT" sz="1000" dirty="0" smtClean="0"/>
                        <a:t>Postos Transformação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312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460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305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332</a:t>
                      </a:r>
                      <a:endParaRPr lang="pt-PT" sz="1000" dirty="0"/>
                    </a:p>
                  </a:txBody>
                  <a:tcPr anchor="ctr"/>
                </a:tc>
              </a:tr>
              <a:tr h="288000">
                <a:tc>
                  <a:txBody>
                    <a:bodyPr/>
                    <a:lstStyle/>
                    <a:p>
                      <a:pPr algn="l"/>
                      <a:r>
                        <a:rPr lang="pt-PT" sz="1000" dirty="0" smtClean="0"/>
                        <a:t>Geradores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151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138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187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103</a:t>
                      </a:r>
                      <a:endParaRPr lang="pt-PT" sz="1000" dirty="0"/>
                    </a:p>
                  </a:txBody>
                  <a:tcPr anchor="ctr"/>
                </a:tc>
              </a:tr>
              <a:tr h="288000">
                <a:tc>
                  <a:txBody>
                    <a:bodyPr/>
                    <a:lstStyle/>
                    <a:p>
                      <a:pPr algn="l"/>
                      <a:r>
                        <a:rPr lang="pt-PT" sz="1000" dirty="0" smtClean="0"/>
                        <a:t>Elevadores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7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20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0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3</a:t>
                      </a:r>
                      <a:endParaRPr lang="pt-PT" sz="1000" dirty="0"/>
                    </a:p>
                  </a:txBody>
                  <a:tcPr anchor="ctr"/>
                </a:tc>
              </a:tr>
              <a:tr h="288000">
                <a:tc>
                  <a:txBody>
                    <a:bodyPr/>
                    <a:lstStyle/>
                    <a:p>
                      <a:pPr algn="r"/>
                      <a:r>
                        <a:rPr lang="pt-PT" sz="1100" b="1" dirty="0" smtClean="0"/>
                        <a:t>Total</a:t>
                      </a:r>
                      <a:endParaRPr lang="pt-PT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100" b="1" dirty="0" smtClean="0"/>
                        <a:t>475</a:t>
                      </a:r>
                      <a:endParaRPr lang="pt-PT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100" b="1" dirty="0" smtClean="0"/>
                        <a:t>628</a:t>
                      </a:r>
                      <a:endParaRPr lang="pt-PT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100" b="1" dirty="0" smtClean="0"/>
                        <a:t>504</a:t>
                      </a:r>
                      <a:endParaRPr lang="pt-PT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100" b="1" dirty="0" smtClean="0"/>
                        <a:t>438</a:t>
                      </a:r>
                      <a:endParaRPr lang="pt-PT" sz="1100" b="1" dirty="0"/>
                    </a:p>
                  </a:txBody>
                  <a:tcPr anchor="ctr"/>
                </a:tc>
              </a:tr>
            </a:tbl>
          </a:graphicData>
        </a:graphic>
      </p:graphicFrame>
      <p:graphicFrame>
        <p:nvGraphicFramePr>
          <p:cNvPr id="5" name="Tabela 4"/>
          <p:cNvGraphicFramePr>
            <a:graphicFrameLocks noGrp="1"/>
          </p:cNvGraphicFramePr>
          <p:nvPr/>
        </p:nvGraphicFramePr>
        <p:xfrm>
          <a:off x="5092536" y="1092541"/>
          <a:ext cx="4512289" cy="218168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563905"/>
                <a:gridCol w="675203"/>
                <a:gridCol w="641442"/>
                <a:gridCol w="708963"/>
                <a:gridCol w="922776"/>
              </a:tblGrid>
              <a:tr h="370840">
                <a:tc gridSpan="5">
                  <a:txBody>
                    <a:bodyPr/>
                    <a:lstStyle/>
                    <a:p>
                      <a:pPr algn="ctr"/>
                      <a:r>
                        <a:rPr lang="pt-PT" sz="1000" dirty="0" smtClean="0">
                          <a:solidFill>
                            <a:schemeClr val="bg1"/>
                          </a:solidFill>
                        </a:rPr>
                        <a:t>Análise de projectos</a:t>
                      </a:r>
                      <a:endParaRPr lang="pt-PT" sz="10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pt-PT" sz="11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pt-PT" sz="11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pt-PT" sz="11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pt-PT" sz="11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PT" sz="1000" b="1" dirty="0" smtClean="0">
                          <a:solidFill>
                            <a:schemeClr val="bg1"/>
                          </a:solidFill>
                        </a:rPr>
                        <a:t>Designação</a:t>
                      </a:r>
                      <a:endParaRPr lang="pt-PT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b="1" dirty="0" smtClean="0">
                          <a:solidFill>
                            <a:schemeClr val="bg1"/>
                          </a:solidFill>
                        </a:rPr>
                        <a:t>2012</a:t>
                      </a:r>
                      <a:endParaRPr lang="pt-PT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b="1" dirty="0" smtClean="0">
                          <a:solidFill>
                            <a:schemeClr val="bg1"/>
                          </a:solidFill>
                        </a:rPr>
                        <a:t>2013</a:t>
                      </a:r>
                      <a:endParaRPr lang="pt-PT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b="1" dirty="0" smtClean="0">
                          <a:solidFill>
                            <a:schemeClr val="bg1"/>
                          </a:solidFill>
                        </a:rPr>
                        <a:t>2014</a:t>
                      </a:r>
                      <a:endParaRPr lang="pt-PT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b="1" dirty="0" smtClean="0">
                          <a:solidFill>
                            <a:schemeClr val="bg1"/>
                          </a:solidFill>
                        </a:rPr>
                        <a:t>1º Sem</a:t>
                      </a:r>
                      <a:r>
                        <a:rPr lang="pt-PT" sz="1000" b="1" baseline="0" dirty="0" smtClean="0">
                          <a:solidFill>
                            <a:schemeClr val="bg1"/>
                          </a:solidFill>
                        </a:rPr>
                        <a:t> 2015</a:t>
                      </a:r>
                      <a:endParaRPr lang="pt-PT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/>
                    </a:solidFill>
                  </a:tcPr>
                </a:tc>
              </a:tr>
              <a:tr h="288000">
                <a:tc>
                  <a:txBody>
                    <a:bodyPr/>
                    <a:lstStyle/>
                    <a:p>
                      <a:pPr algn="l"/>
                      <a:r>
                        <a:rPr lang="pt-PT" sz="1000" dirty="0" smtClean="0"/>
                        <a:t>Instalações BT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6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8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7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0</a:t>
                      </a:r>
                      <a:endParaRPr lang="pt-PT" sz="1000" dirty="0"/>
                    </a:p>
                  </a:txBody>
                  <a:tcPr anchor="ctr"/>
                </a:tc>
              </a:tr>
              <a:tr h="288000">
                <a:tc>
                  <a:txBody>
                    <a:bodyPr/>
                    <a:lstStyle/>
                    <a:p>
                      <a:pPr algn="l"/>
                      <a:r>
                        <a:rPr lang="pt-PT" sz="1000" dirty="0" smtClean="0"/>
                        <a:t>Postos Transformação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156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230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241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167</a:t>
                      </a:r>
                      <a:endParaRPr lang="pt-PT" sz="1000" dirty="0"/>
                    </a:p>
                  </a:txBody>
                  <a:tcPr anchor="ctr"/>
                </a:tc>
              </a:tr>
              <a:tr h="288000">
                <a:tc>
                  <a:txBody>
                    <a:bodyPr/>
                    <a:lstStyle/>
                    <a:p>
                      <a:pPr algn="l"/>
                      <a:r>
                        <a:rPr lang="pt-PT" sz="1000" dirty="0" smtClean="0"/>
                        <a:t>Geradores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88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68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118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48</a:t>
                      </a:r>
                      <a:endParaRPr lang="pt-PT" sz="1000" dirty="0"/>
                    </a:p>
                  </a:txBody>
                  <a:tcPr anchor="ctr"/>
                </a:tc>
              </a:tr>
              <a:tr h="288000">
                <a:tc>
                  <a:txBody>
                    <a:bodyPr/>
                    <a:lstStyle/>
                    <a:p>
                      <a:pPr algn="l"/>
                      <a:r>
                        <a:rPr lang="pt-PT" sz="1000" dirty="0" smtClean="0"/>
                        <a:t>Elevadores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0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10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0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3</a:t>
                      </a:r>
                      <a:endParaRPr lang="pt-PT" sz="1000" dirty="0"/>
                    </a:p>
                  </a:txBody>
                  <a:tcPr anchor="ctr"/>
                </a:tc>
              </a:tr>
              <a:tr h="288000">
                <a:tc>
                  <a:txBody>
                    <a:bodyPr/>
                    <a:lstStyle/>
                    <a:p>
                      <a:pPr algn="r"/>
                      <a:r>
                        <a:rPr lang="pt-PT" sz="1100" b="1" dirty="0" smtClean="0"/>
                        <a:t>Total</a:t>
                      </a:r>
                      <a:endParaRPr lang="pt-PT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100" b="1" dirty="0" smtClean="0"/>
                        <a:t>250</a:t>
                      </a:r>
                      <a:endParaRPr lang="pt-PT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100" b="1" dirty="0" smtClean="0"/>
                        <a:t>316</a:t>
                      </a:r>
                      <a:endParaRPr lang="pt-PT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100" b="1" dirty="0" smtClean="0"/>
                        <a:t>366</a:t>
                      </a:r>
                      <a:endParaRPr lang="pt-PT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100" b="1" dirty="0" smtClean="0"/>
                        <a:t>218</a:t>
                      </a:r>
                      <a:endParaRPr lang="pt-PT" sz="1100" b="1" dirty="0"/>
                    </a:p>
                  </a:txBody>
                  <a:tcPr anchor="ctr"/>
                </a:tc>
              </a:tr>
            </a:tbl>
          </a:graphicData>
        </a:graphic>
      </p:graphicFrame>
      <p:graphicFrame>
        <p:nvGraphicFramePr>
          <p:cNvPr id="6" name="Tabela 5"/>
          <p:cNvGraphicFramePr>
            <a:graphicFrameLocks noGrp="1"/>
          </p:cNvGraphicFramePr>
          <p:nvPr/>
        </p:nvGraphicFramePr>
        <p:xfrm>
          <a:off x="380347" y="3684730"/>
          <a:ext cx="4512289" cy="218168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563905"/>
                <a:gridCol w="675203"/>
                <a:gridCol w="641442"/>
                <a:gridCol w="708963"/>
                <a:gridCol w="922776"/>
              </a:tblGrid>
              <a:tr h="370840">
                <a:tc gridSpan="5">
                  <a:txBody>
                    <a:bodyPr/>
                    <a:lstStyle/>
                    <a:p>
                      <a:pPr algn="ctr"/>
                      <a:r>
                        <a:rPr lang="pt-PT" sz="1000" dirty="0" smtClean="0">
                          <a:solidFill>
                            <a:schemeClr val="bg1"/>
                          </a:solidFill>
                        </a:rPr>
                        <a:t>Vistorias a Instalações Eléctricas</a:t>
                      </a:r>
                      <a:endParaRPr lang="pt-PT" sz="10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pt-PT" sz="11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pt-PT" sz="11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pt-PT" sz="11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pt-PT" sz="11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PT" sz="1000" b="1" dirty="0" smtClean="0">
                          <a:solidFill>
                            <a:schemeClr val="bg1"/>
                          </a:solidFill>
                        </a:rPr>
                        <a:t>Designação</a:t>
                      </a:r>
                      <a:endParaRPr lang="pt-PT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b="1" dirty="0" smtClean="0">
                          <a:solidFill>
                            <a:schemeClr val="bg1"/>
                          </a:solidFill>
                        </a:rPr>
                        <a:t>2012</a:t>
                      </a:r>
                      <a:endParaRPr lang="pt-PT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b="1" dirty="0" smtClean="0">
                          <a:solidFill>
                            <a:schemeClr val="bg1"/>
                          </a:solidFill>
                        </a:rPr>
                        <a:t>2013</a:t>
                      </a:r>
                      <a:endParaRPr lang="pt-PT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b="1" dirty="0" smtClean="0">
                          <a:solidFill>
                            <a:schemeClr val="bg1"/>
                          </a:solidFill>
                        </a:rPr>
                        <a:t>2014</a:t>
                      </a:r>
                      <a:endParaRPr lang="pt-PT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b="1" dirty="0" smtClean="0">
                          <a:solidFill>
                            <a:schemeClr val="bg1"/>
                          </a:solidFill>
                        </a:rPr>
                        <a:t>1º Sem</a:t>
                      </a:r>
                      <a:r>
                        <a:rPr lang="pt-PT" sz="1000" b="1" baseline="0" dirty="0" smtClean="0">
                          <a:solidFill>
                            <a:schemeClr val="bg1"/>
                          </a:solidFill>
                        </a:rPr>
                        <a:t> 2015</a:t>
                      </a:r>
                      <a:endParaRPr lang="pt-PT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/>
                    </a:solidFill>
                  </a:tcPr>
                </a:tc>
              </a:tr>
              <a:tr h="288000">
                <a:tc>
                  <a:txBody>
                    <a:bodyPr/>
                    <a:lstStyle/>
                    <a:p>
                      <a:pPr algn="l"/>
                      <a:r>
                        <a:rPr lang="pt-PT" sz="1000" dirty="0" smtClean="0"/>
                        <a:t>Instalações BT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6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8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7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0</a:t>
                      </a:r>
                      <a:endParaRPr lang="pt-PT" sz="1000" dirty="0"/>
                    </a:p>
                  </a:txBody>
                  <a:tcPr anchor="ctr"/>
                </a:tc>
              </a:tr>
              <a:tr h="288000">
                <a:tc>
                  <a:txBody>
                    <a:bodyPr/>
                    <a:lstStyle/>
                    <a:p>
                      <a:pPr algn="l"/>
                      <a:r>
                        <a:rPr lang="pt-PT" sz="1000" dirty="0" smtClean="0"/>
                        <a:t>Postos Transformação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156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230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241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167</a:t>
                      </a:r>
                      <a:endParaRPr lang="pt-PT" sz="1000" dirty="0"/>
                    </a:p>
                  </a:txBody>
                  <a:tcPr anchor="ctr"/>
                </a:tc>
              </a:tr>
              <a:tr h="288000">
                <a:tc>
                  <a:txBody>
                    <a:bodyPr/>
                    <a:lstStyle/>
                    <a:p>
                      <a:pPr algn="l"/>
                      <a:r>
                        <a:rPr lang="pt-PT" sz="1000" dirty="0" smtClean="0"/>
                        <a:t>Geradores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88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68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118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48</a:t>
                      </a:r>
                      <a:endParaRPr lang="pt-PT" sz="1000" dirty="0"/>
                    </a:p>
                  </a:txBody>
                  <a:tcPr anchor="ctr"/>
                </a:tc>
              </a:tr>
              <a:tr h="288000">
                <a:tc>
                  <a:txBody>
                    <a:bodyPr/>
                    <a:lstStyle/>
                    <a:p>
                      <a:pPr algn="l"/>
                      <a:r>
                        <a:rPr lang="pt-PT" sz="1000" dirty="0" smtClean="0"/>
                        <a:t>Elevadores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0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10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0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3</a:t>
                      </a:r>
                      <a:endParaRPr lang="pt-PT" sz="1000" dirty="0"/>
                    </a:p>
                  </a:txBody>
                  <a:tcPr anchor="ctr"/>
                </a:tc>
              </a:tr>
              <a:tr h="288000">
                <a:tc>
                  <a:txBody>
                    <a:bodyPr/>
                    <a:lstStyle/>
                    <a:p>
                      <a:pPr algn="r"/>
                      <a:r>
                        <a:rPr lang="pt-PT" sz="1100" b="1" dirty="0" smtClean="0"/>
                        <a:t>Total</a:t>
                      </a:r>
                      <a:endParaRPr lang="pt-PT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100" b="1" dirty="0" smtClean="0"/>
                        <a:t>250</a:t>
                      </a:r>
                      <a:endParaRPr lang="pt-PT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100" b="1" dirty="0" smtClean="0"/>
                        <a:t>316</a:t>
                      </a:r>
                      <a:endParaRPr lang="pt-PT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100" b="1" dirty="0" smtClean="0"/>
                        <a:t>366</a:t>
                      </a:r>
                      <a:endParaRPr lang="pt-PT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100" b="1" dirty="0" smtClean="0"/>
                        <a:t>218</a:t>
                      </a:r>
                      <a:endParaRPr lang="pt-PT" sz="1100" b="1" dirty="0"/>
                    </a:p>
                  </a:txBody>
                  <a:tcPr anchor="ctr"/>
                </a:tc>
              </a:tr>
            </a:tbl>
          </a:graphicData>
        </a:graphic>
      </p:graphicFrame>
      <p:graphicFrame>
        <p:nvGraphicFramePr>
          <p:cNvPr id="7" name="Tabela 6"/>
          <p:cNvGraphicFramePr>
            <a:graphicFrameLocks noGrp="1"/>
          </p:cNvGraphicFramePr>
          <p:nvPr/>
        </p:nvGraphicFramePr>
        <p:xfrm>
          <a:off x="5092535" y="3847620"/>
          <a:ext cx="4512289" cy="138941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118260"/>
                <a:gridCol w="1116280"/>
                <a:gridCol w="1163782"/>
                <a:gridCol w="1113967"/>
              </a:tblGrid>
              <a:tr h="500397">
                <a:tc gridSpan="4">
                  <a:txBody>
                    <a:bodyPr/>
                    <a:lstStyle/>
                    <a:p>
                      <a:pPr algn="ctr"/>
                      <a:r>
                        <a:rPr lang="pt-PT" sz="1000" dirty="0" smtClean="0">
                          <a:solidFill>
                            <a:schemeClr val="bg1"/>
                          </a:solidFill>
                        </a:rPr>
                        <a:t>Receitas em Numerário (KZ)</a:t>
                      </a:r>
                      <a:endParaRPr lang="pt-PT" sz="10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pt-PT" sz="11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pt-PT" sz="11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pt-PT" sz="1100" dirty="0"/>
                    </a:p>
                  </a:txBody>
                  <a:tcPr/>
                </a:tc>
              </a:tr>
              <a:tr h="500397">
                <a:tc>
                  <a:txBody>
                    <a:bodyPr/>
                    <a:lstStyle/>
                    <a:p>
                      <a:pPr algn="ctr"/>
                      <a:r>
                        <a:rPr lang="pt-PT" sz="1000" b="1" dirty="0" smtClean="0">
                          <a:solidFill>
                            <a:schemeClr val="bg1"/>
                          </a:solidFill>
                        </a:rPr>
                        <a:t>2012</a:t>
                      </a:r>
                      <a:endParaRPr lang="pt-PT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b="1" dirty="0" smtClean="0">
                          <a:solidFill>
                            <a:schemeClr val="bg1"/>
                          </a:solidFill>
                        </a:rPr>
                        <a:t>2013</a:t>
                      </a:r>
                      <a:endParaRPr lang="pt-PT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b="1" dirty="0" smtClean="0">
                          <a:solidFill>
                            <a:schemeClr val="bg1"/>
                          </a:solidFill>
                        </a:rPr>
                        <a:t>2014</a:t>
                      </a:r>
                      <a:endParaRPr lang="pt-PT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b="1" dirty="0" smtClean="0">
                          <a:solidFill>
                            <a:schemeClr val="bg1"/>
                          </a:solidFill>
                        </a:rPr>
                        <a:t>1º Sem</a:t>
                      </a:r>
                      <a:r>
                        <a:rPr lang="pt-PT" sz="1000" b="1" baseline="0" dirty="0" smtClean="0">
                          <a:solidFill>
                            <a:schemeClr val="bg1"/>
                          </a:solidFill>
                        </a:rPr>
                        <a:t> 2015</a:t>
                      </a:r>
                      <a:endParaRPr lang="pt-PT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/>
                    </a:solidFill>
                  </a:tcPr>
                </a:tc>
              </a:tr>
              <a:tr h="388616">
                <a:tc>
                  <a:txBody>
                    <a:bodyPr/>
                    <a:lstStyle/>
                    <a:p>
                      <a:pPr algn="ctr"/>
                      <a:r>
                        <a:rPr lang="pt-PT" sz="1100" b="1" dirty="0" smtClean="0"/>
                        <a:t>21.882.194,53</a:t>
                      </a:r>
                      <a:endParaRPr lang="pt-PT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100" b="1" dirty="0" smtClean="0"/>
                        <a:t>34.455.242,84</a:t>
                      </a:r>
                      <a:endParaRPr lang="pt-PT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100" b="1" dirty="0" smtClean="0"/>
                        <a:t>43.874.436,20</a:t>
                      </a:r>
                      <a:endParaRPr lang="pt-PT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100" b="1" dirty="0" smtClean="0"/>
                        <a:t>35.249.928,08</a:t>
                      </a:r>
                      <a:endParaRPr lang="pt-PT" sz="1100" b="1" dirty="0"/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28603974"/>
      </p:ext>
    </p:extLst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ângulo arredondado 12"/>
          <p:cNvSpPr/>
          <p:nvPr/>
        </p:nvSpPr>
        <p:spPr bwMode="gray">
          <a:xfrm>
            <a:off x="712519" y="4013428"/>
            <a:ext cx="8514608" cy="1954381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88900" indent="-88900" algn="just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</a:pPr>
            <a:endParaRPr lang="pt-PT" sz="1000" kern="0" dirty="0" smtClean="0">
              <a:solidFill>
                <a:sysClr val="windowText" lastClr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12" name="Rectângulo arredondado 11"/>
          <p:cNvSpPr/>
          <p:nvPr/>
        </p:nvSpPr>
        <p:spPr bwMode="gray">
          <a:xfrm>
            <a:off x="712519" y="3123215"/>
            <a:ext cx="8514608" cy="723963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88900" indent="-88900" algn="just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</a:pPr>
            <a:endParaRPr lang="pt-PT" sz="1000" kern="0" dirty="0" smtClean="0">
              <a:solidFill>
                <a:sysClr val="windowText" lastClr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11" name="Rectângulo arredondado 10"/>
          <p:cNvSpPr/>
          <p:nvPr/>
        </p:nvSpPr>
        <p:spPr bwMode="gray">
          <a:xfrm>
            <a:off x="712519" y="1840662"/>
            <a:ext cx="8514608" cy="1015663"/>
          </a:xfrm>
          <a:prstGeom prst="roundRect">
            <a:avLst/>
          </a:prstGeom>
          <a:solidFill>
            <a:srgbClr val="C9DBFF"/>
          </a:solidFill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88900" indent="-88900" algn="just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</a:pPr>
            <a:endParaRPr lang="pt-PT" sz="1000" kern="0" dirty="0" smtClean="0">
              <a:solidFill>
                <a:sysClr val="windowText" lastClr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10" name="Rectângulo arredondado 9"/>
          <p:cNvSpPr/>
          <p:nvPr/>
        </p:nvSpPr>
        <p:spPr bwMode="gray">
          <a:xfrm>
            <a:off x="688769" y="1258781"/>
            <a:ext cx="8538358" cy="461665"/>
          </a:xfrm>
          <a:prstGeom prst="roundRect">
            <a:avLst/>
          </a:prstGeom>
          <a:solidFill>
            <a:srgbClr val="C9DBFF"/>
          </a:solidFill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88900" indent="-88900" algn="just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</a:pPr>
            <a:endParaRPr lang="pt-PT" sz="1000" kern="0" dirty="0" smtClean="0">
              <a:solidFill>
                <a:sysClr val="windowText" lastClr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3" name="Rounded Rectangle 26"/>
          <p:cNvSpPr/>
          <p:nvPr/>
        </p:nvSpPr>
        <p:spPr>
          <a:xfrm>
            <a:off x="6521105" y="142875"/>
            <a:ext cx="3251546" cy="654441"/>
          </a:xfrm>
          <a:prstGeom prst="roundRect">
            <a:avLst/>
          </a:prstGeom>
          <a:solidFill>
            <a:schemeClr val="bg1">
              <a:lumMod val="85000"/>
              <a:alpha val="67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Ins="36000" rtlCol="0" anchor="ctr"/>
          <a:lstStyle/>
          <a:p>
            <a:r>
              <a:rPr lang="pt-PT" sz="1600" b="1" dirty="0" smtClean="0">
                <a:solidFill>
                  <a:schemeClr val="tx1"/>
                </a:solidFill>
              </a:rPr>
              <a:t>Licenciamento e Fiscalização</a:t>
            </a:r>
            <a:endParaRPr lang="pt-PT" sz="1600" b="1" dirty="0">
              <a:solidFill>
                <a:schemeClr val="tx1"/>
              </a:solidFill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1381125" y="254466"/>
            <a:ext cx="5139980" cy="584775"/>
          </a:xfrm>
          <a:prstGeom prst="rect">
            <a:avLst/>
          </a:prstGeom>
          <a:ln w="9525"/>
        </p:spPr>
        <p:txBody>
          <a:bodyPr wrap="square" lIns="91440" tIns="45720" rIns="91440" bIns="45720" rtlCol="0"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lang="pt-PT" sz="1600" b="1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cs typeface="+mn-cs"/>
              </a:rPr>
              <a:t>SNPCDA - Sistema Nacional de Protecção Contra Descargas Atmosféricas</a:t>
            </a:r>
            <a:endParaRPr kumimoji="0" lang="pt-PT" sz="1600" b="1" i="0" u="none" strike="noStrike" kern="1200" cap="none" spc="0" normalizeH="0" baseline="0" noProof="0" dirty="0" smtClean="0">
              <a:ln>
                <a:noFill/>
              </a:ln>
              <a:solidFill>
                <a:schemeClr val="accent6">
                  <a:lumMod val="60000"/>
                  <a:lumOff val="4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688769" y="1888162"/>
            <a:ext cx="8704613" cy="1015663"/>
          </a:xfrm>
          <a:prstGeom prst="rect">
            <a:avLst/>
          </a:prstGeom>
          <a:ln w="9525"/>
        </p:spPr>
        <p:txBody>
          <a:bodyPr wrap="square" lIns="91440" tIns="45720" rIns="91440" bIns="45720" rtlCol="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pt-PT" sz="1200" b="1" dirty="0" smtClean="0">
                <a:latin typeface="+mn-lt"/>
              </a:rPr>
              <a:t>NSCAR – Norma Angolana Contra Descargas Atmosféricas </a:t>
            </a:r>
            <a:r>
              <a:rPr lang="pt-PT" sz="1200" dirty="0" smtClean="0">
                <a:latin typeface="+mn-lt"/>
              </a:rPr>
              <a:t>especifica, no estado actual do conhecimento e da tecnologia, os requisitos para conceber um projecto para uma protecção satisfatória contra descargas atmosféricas, das estruturas (tais como prédios, instalações, equipamentos, entre outras) e áreas abertas (áreas de armazenamento, áreas de lazer ou desportivas, entre outras) por sistemas de protecção contra descargas atmosféricas e fornece as directivas sobre os meios para realizar essa protecção.</a:t>
            </a:r>
            <a:r>
              <a:rPr lang="pt-PT" sz="1200" dirty="0" smtClean="0">
                <a:latin typeface="+mn-lt"/>
                <a:cs typeface="+mn-cs"/>
              </a:rPr>
              <a:t> </a:t>
            </a:r>
            <a:endParaRPr kumimoji="0" lang="pt-PT" sz="12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CaixaDeTexto 6"/>
          <p:cNvSpPr txBox="1"/>
          <p:nvPr/>
        </p:nvSpPr>
        <p:spPr>
          <a:xfrm>
            <a:off x="688769" y="3075715"/>
            <a:ext cx="8704613" cy="538609"/>
          </a:xfrm>
          <a:prstGeom prst="rect">
            <a:avLst/>
          </a:prstGeom>
          <a:ln w="9525"/>
        </p:spPr>
        <p:txBody>
          <a:bodyPr wrap="square" lIns="91440" tIns="45720" rIns="91440" bIns="4572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pt-PT" sz="12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Supervisão do SNPCDA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lang="pt-PT" sz="1200" dirty="0" smtClean="0">
                <a:latin typeface="+mn-lt"/>
                <a:cs typeface="+mn-cs"/>
              </a:rPr>
              <a:t>Compete à Comissão de Supervisão, constituída pelo MINEA, MINCT, IANORQ, INAMET e SNPCB</a:t>
            </a:r>
            <a:endParaRPr kumimoji="0" lang="pt-PT" sz="12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CaixaDeTexto 7"/>
          <p:cNvSpPr txBox="1"/>
          <p:nvPr/>
        </p:nvSpPr>
        <p:spPr>
          <a:xfrm>
            <a:off x="855023" y="4013428"/>
            <a:ext cx="8277102" cy="1954381"/>
          </a:xfrm>
          <a:prstGeom prst="rect">
            <a:avLst/>
          </a:prstGeom>
          <a:ln w="9525"/>
        </p:spPr>
        <p:txBody>
          <a:bodyPr wrap="square" lIns="91440" tIns="45720" rIns="91440" bIns="4572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lang="pt-PT" sz="1200" b="1" dirty="0" smtClean="0">
                <a:latin typeface="+mn-lt"/>
                <a:cs typeface="+mn-cs"/>
              </a:rPr>
              <a:t>Gestão</a:t>
            </a:r>
            <a:r>
              <a:rPr kumimoji="0" lang="pt-PT" sz="12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 do SNPCDA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lang="pt-PT" sz="1200" dirty="0" smtClean="0">
                <a:latin typeface="+mn-lt"/>
                <a:cs typeface="+mn-cs"/>
              </a:rPr>
              <a:t>Compete ao MINEA:</a:t>
            </a:r>
          </a:p>
          <a:p>
            <a:pPr marL="228600" marR="0" indent="-2286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itchFamily="34" charset="0"/>
              <a:buChar char="•"/>
              <a:tabLst/>
            </a:pPr>
            <a:r>
              <a:rPr kumimoji="0" lang="pt-PT" sz="1200" b="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Assegurar a aplicação Regulamentar;</a:t>
            </a:r>
          </a:p>
          <a:p>
            <a:pPr marL="228600" marR="0" indent="-2286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itchFamily="34" charset="0"/>
              <a:buChar char="•"/>
              <a:tabLst/>
            </a:pPr>
            <a:r>
              <a:rPr lang="pt-PT" sz="1200" dirty="0" smtClean="0">
                <a:latin typeface="+mn-lt"/>
                <a:cs typeface="+mn-cs"/>
              </a:rPr>
              <a:t>Qualificar e Certificar as Entidades Instaladoras de Pára raios ( EIPR) e das Entidades Responsáveis pela Inspecção (ERI);</a:t>
            </a:r>
          </a:p>
          <a:p>
            <a:pPr marL="228600" marR="0" indent="-2286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itchFamily="34" charset="0"/>
              <a:buChar char="•"/>
              <a:tabLst/>
            </a:pPr>
            <a:r>
              <a:rPr kumimoji="0" lang="pt-PT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Fiscalizar o cumprimento da obrigatoriedade de instalação de SPDA, ainda que através de terceiros;</a:t>
            </a:r>
          </a:p>
          <a:p>
            <a:pPr marL="228600" marR="0" indent="-228600" algn="just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itchFamily="34" charset="0"/>
              <a:buChar char="•"/>
              <a:tabLst/>
            </a:pPr>
            <a:r>
              <a:rPr lang="pt-PT" sz="1200" dirty="0" smtClean="0">
                <a:latin typeface="+mn-lt"/>
                <a:cs typeface="+mn-cs"/>
              </a:rPr>
              <a:t>Desenvolver programas permanentes com o objectivo de informar e educar os cidadãos sobre as medidas preventivas a tomar e as condutas a </a:t>
            </a:r>
            <a:r>
              <a:rPr lang="pt-PT" sz="1200" dirty="0" err="1" smtClean="0">
                <a:latin typeface="+mn-lt"/>
                <a:cs typeface="+mn-cs"/>
              </a:rPr>
              <a:t>adotar</a:t>
            </a:r>
            <a:r>
              <a:rPr lang="pt-PT" sz="1200" dirty="0" smtClean="0">
                <a:latin typeface="+mn-lt"/>
                <a:cs typeface="+mn-cs"/>
              </a:rPr>
              <a:t>;</a:t>
            </a:r>
            <a:endParaRPr kumimoji="0" lang="pt-PT" sz="12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712519" y="1258781"/>
            <a:ext cx="8514608" cy="461665"/>
          </a:xfrm>
          <a:prstGeom prst="rect">
            <a:avLst/>
          </a:prstGeom>
          <a:ln w="9525"/>
        </p:spPr>
        <p:txBody>
          <a:bodyPr wrap="square" lIns="91440" tIns="45720" rIns="91440" bIns="45720" rtlCol="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pt-PT" sz="1200" b="1" dirty="0" smtClean="0">
                <a:latin typeface="+mn-lt"/>
              </a:rPr>
              <a:t>Decreto Presidencial Nº 29/15 de 13 de Janeiro</a:t>
            </a:r>
            <a:r>
              <a:rPr lang="pt-PT" sz="1200" dirty="0" smtClean="0">
                <a:latin typeface="+mn-lt"/>
              </a:rPr>
              <a:t>, aprova o  Regime de Protecção Obrigatória  Contra Descargas Atmosféricas</a:t>
            </a:r>
            <a:endParaRPr kumimoji="0" lang="pt-PT" sz="12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3325090" y="3189261"/>
            <a:ext cx="3345788" cy="461665"/>
          </a:xfrm>
          <a:prstGeom prst="rect">
            <a:avLst/>
          </a:prstGeom>
          <a:ln w="9525"/>
        </p:spPr>
        <p:txBody>
          <a:bodyPr wrap="none" lIns="91440" tIns="45720" rIns="91440" bIns="4572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pt-PT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6">
                    <a:lumMod val="60000"/>
                    <a:lumOff val="4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ratos pela atenção</a:t>
            </a:r>
          </a:p>
        </p:txBody>
      </p:sp>
    </p:spTree>
  </p:cSld>
  <p:clrMapOvr>
    <a:masterClrMapping/>
  </p:clrMapOvr>
  <p:transition>
    <p:wedg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4" name="Picture 2" descr="http://www.blue-sol.com/energia-solar/wp-content/uploads/2014/06/2564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239" y="2806"/>
            <a:ext cx="9901761" cy="6855193"/>
          </a:xfrm>
          <a:prstGeom prst="rect">
            <a:avLst/>
          </a:prstGeom>
          <a:noFill/>
        </p:spPr>
      </p:pic>
      <p:pic>
        <p:nvPicPr>
          <p:cNvPr id="5" name="Picture 1970" descr="C:\Users\patricia.m.loureiro\AppData\Local\Microsoft\Windows\Temporary Internet Files\Content.Outlook\YYF1YN1Y\insignia_large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3384" y="63053"/>
            <a:ext cx="780696" cy="770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>
          <a:xfrm>
            <a:off x="2104638" y="1011194"/>
            <a:ext cx="6019800" cy="1745670"/>
            <a:chOff x="3581400" y="2438400"/>
            <a:chExt cx="6019800" cy="2420476"/>
          </a:xfrm>
          <a:solidFill>
            <a:schemeClr val="bg1">
              <a:lumMod val="85000"/>
              <a:alpha val="67000"/>
            </a:schemeClr>
          </a:solidFill>
        </p:grpSpPr>
        <p:sp>
          <p:nvSpPr>
            <p:cNvPr id="7" name="Rounded Rectangle 11"/>
            <p:cNvSpPr/>
            <p:nvPr/>
          </p:nvSpPr>
          <p:spPr>
            <a:xfrm>
              <a:off x="3581400" y="2438400"/>
              <a:ext cx="625379" cy="677747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bg1"/>
                  </a:solidFill>
                </a:rPr>
                <a:t>1</a:t>
              </a:r>
              <a:endParaRPr lang="pt-PT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8" name="Rounded Rectangle 12"/>
            <p:cNvSpPr/>
            <p:nvPr/>
          </p:nvSpPr>
          <p:spPr>
            <a:xfrm>
              <a:off x="4379383" y="2438400"/>
              <a:ext cx="5221817" cy="677747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bg1"/>
                  </a:solidFill>
                </a:rPr>
                <a:t>Introdução</a:t>
              </a:r>
              <a:endParaRPr lang="pt-PT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9" name="Rounded Rectangle 18"/>
            <p:cNvSpPr/>
            <p:nvPr/>
          </p:nvSpPr>
          <p:spPr>
            <a:xfrm>
              <a:off x="3581400" y="3293621"/>
              <a:ext cx="625379" cy="672374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2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0" name="Rounded Rectangle 19"/>
            <p:cNvSpPr/>
            <p:nvPr/>
          </p:nvSpPr>
          <p:spPr>
            <a:xfrm>
              <a:off x="4379383" y="3293621"/>
              <a:ext cx="5221817" cy="672374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Produção de Energia Eléctrica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1" name="Rounded Rectangle 8"/>
            <p:cNvSpPr/>
            <p:nvPr/>
          </p:nvSpPr>
          <p:spPr>
            <a:xfrm>
              <a:off x="3581400" y="4202967"/>
              <a:ext cx="625379" cy="655909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3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2" name="Rounded Rectangle 9"/>
            <p:cNvSpPr/>
            <p:nvPr/>
          </p:nvSpPr>
          <p:spPr>
            <a:xfrm>
              <a:off x="4379383" y="4159935"/>
              <a:ext cx="5221817" cy="655909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Transporte de Energia Eléctrica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3" name="Group 24"/>
          <p:cNvGrpSpPr/>
          <p:nvPr/>
        </p:nvGrpSpPr>
        <p:grpSpPr>
          <a:xfrm>
            <a:off x="2104638" y="2873831"/>
            <a:ext cx="6019800" cy="471989"/>
            <a:chOff x="3600000" y="5715000"/>
            <a:chExt cx="6019800" cy="654441"/>
          </a:xfrm>
          <a:solidFill>
            <a:schemeClr val="bg1">
              <a:lumMod val="85000"/>
              <a:alpha val="67000"/>
            </a:schemeClr>
          </a:solidFill>
        </p:grpSpPr>
        <p:sp>
          <p:nvSpPr>
            <p:cNvPr id="14" name="Rounded Rectangle 25"/>
            <p:cNvSpPr/>
            <p:nvPr/>
          </p:nvSpPr>
          <p:spPr>
            <a:xfrm>
              <a:off x="3600000" y="5715000"/>
              <a:ext cx="625379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4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5" name="Rounded Rectangle 26"/>
            <p:cNvSpPr/>
            <p:nvPr/>
          </p:nvSpPr>
          <p:spPr>
            <a:xfrm>
              <a:off x="4397983" y="5715000"/>
              <a:ext cx="5221817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Distribuição de Energia Eléctrica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16" name="TextBox 1"/>
          <p:cNvSpPr txBox="1"/>
          <p:nvPr/>
        </p:nvSpPr>
        <p:spPr>
          <a:xfrm>
            <a:off x="1887258" y="424339"/>
            <a:ext cx="1664002" cy="425758"/>
          </a:xfrm>
          <a:prstGeom prst="rect">
            <a:avLst/>
          </a:prstGeom>
        </p:spPr>
        <p:txBody>
          <a:bodyPr wrap="square" lIns="0" anchor="b">
            <a:spAutoFit/>
          </a:bodyPr>
          <a:lstStyle>
            <a:lvl1pPr eaLnBrk="1" hangingPunct="1">
              <a:lnSpc>
                <a:spcPts val="2600"/>
              </a:lnSpc>
              <a:buFont typeface="Arial" charset="0"/>
              <a:defRPr sz="2000" b="1" spc="0" baseline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1pPr>
            <a:lvl2pPr eaLnBrk="1" hangingPunct="1">
              <a:lnSpc>
                <a:spcPts val="2600"/>
              </a:lnSpc>
              <a:buFont typeface="Arial" charset="0"/>
              <a:defRPr sz="2400"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eaLnBrk="1" hangingPunct="1">
              <a:lnSpc>
                <a:spcPts val="2600"/>
              </a:lnSpc>
              <a:buFont typeface="Arial" charset="0"/>
              <a:defRPr sz="2400"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eaLnBrk="1" hangingPunct="1">
              <a:lnSpc>
                <a:spcPts val="2600"/>
              </a:lnSpc>
              <a:buFont typeface="Arial" charset="0"/>
              <a:defRPr sz="2400"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eaLnBrk="1" hangingPunct="1">
              <a:lnSpc>
                <a:spcPts val="2600"/>
              </a:lnSpc>
              <a:buFont typeface="Arial" charset="0"/>
              <a:defRPr sz="2400"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pPr lvl="0" algn="ctr"/>
            <a:r>
              <a:rPr lang="en-US" sz="2400" baseline="0" dirty="0" smtClean="0">
                <a:solidFill>
                  <a:srgbClr val="FFCC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genda</a:t>
            </a:r>
            <a:endParaRPr lang="en-US" sz="2400" baseline="0" dirty="0">
              <a:solidFill>
                <a:srgbClr val="FFCC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4" name="Group 24"/>
          <p:cNvGrpSpPr/>
          <p:nvPr/>
        </p:nvGrpSpPr>
        <p:grpSpPr>
          <a:xfrm>
            <a:off x="2117184" y="4112151"/>
            <a:ext cx="6019800" cy="471989"/>
            <a:chOff x="3600000" y="5715000"/>
            <a:chExt cx="6019800" cy="654441"/>
          </a:xfrm>
          <a:solidFill>
            <a:schemeClr val="bg1">
              <a:lumMod val="85000"/>
              <a:alpha val="67000"/>
            </a:schemeClr>
          </a:solidFill>
        </p:grpSpPr>
        <p:sp>
          <p:nvSpPr>
            <p:cNvPr id="18" name="Rounded Rectangle 25"/>
            <p:cNvSpPr/>
            <p:nvPr/>
          </p:nvSpPr>
          <p:spPr>
            <a:xfrm>
              <a:off x="3600000" y="5715000"/>
              <a:ext cx="625379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6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9" name="Rounded Rectangle 26"/>
            <p:cNvSpPr/>
            <p:nvPr/>
          </p:nvSpPr>
          <p:spPr>
            <a:xfrm>
              <a:off x="4397983" y="5715000"/>
              <a:ext cx="5221817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Energias Renováveis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6" name="Group 24"/>
          <p:cNvGrpSpPr/>
          <p:nvPr/>
        </p:nvGrpSpPr>
        <p:grpSpPr>
          <a:xfrm>
            <a:off x="2138700" y="4734586"/>
            <a:ext cx="6019800" cy="471989"/>
            <a:chOff x="3600000" y="5715000"/>
            <a:chExt cx="6019800" cy="654441"/>
          </a:xfrm>
          <a:solidFill>
            <a:schemeClr val="bg1">
              <a:lumMod val="85000"/>
              <a:alpha val="67000"/>
            </a:schemeClr>
          </a:solidFill>
        </p:grpSpPr>
        <p:sp>
          <p:nvSpPr>
            <p:cNvPr id="21" name="Rounded Rectangle 25"/>
            <p:cNvSpPr/>
            <p:nvPr/>
          </p:nvSpPr>
          <p:spPr>
            <a:xfrm>
              <a:off x="3600000" y="5715000"/>
              <a:ext cx="625379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7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22" name="Rounded Rectangle 26"/>
            <p:cNvSpPr/>
            <p:nvPr/>
          </p:nvSpPr>
          <p:spPr>
            <a:xfrm>
              <a:off x="4397983" y="5715000"/>
              <a:ext cx="5221817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Electrificação Rural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3" name="Group 24"/>
          <p:cNvGrpSpPr/>
          <p:nvPr/>
        </p:nvGrpSpPr>
        <p:grpSpPr>
          <a:xfrm>
            <a:off x="2151246" y="5335059"/>
            <a:ext cx="6019800" cy="471989"/>
            <a:chOff x="3600000" y="5715000"/>
            <a:chExt cx="6019800" cy="654441"/>
          </a:xfrm>
          <a:solidFill>
            <a:schemeClr val="bg1">
              <a:lumMod val="85000"/>
              <a:alpha val="67000"/>
            </a:schemeClr>
          </a:solidFill>
        </p:grpSpPr>
        <p:sp>
          <p:nvSpPr>
            <p:cNvPr id="24" name="Rounded Rectangle 25"/>
            <p:cNvSpPr/>
            <p:nvPr/>
          </p:nvSpPr>
          <p:spPr>
            <a:xfrm>
              <a:off x="3600000" y="5715000"/>
              <a:ext cx="625379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8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25" name="Rounded Rectangle 26"/>
            <p:cNvSpPr/>
            <p:nvPr/>
          </p:nvSpPr>
          <p:spPr>
            <a:xfrm>
              <a:off x="4397983" y="5715000"/>
              <a:ext cx="5221817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Licenciamento e Fiscalização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7" name="Group 24"/>
          <p:cNvGrpSpPr/>
          <p:nvPr/>
        </p:nvGrpSpPr>
        <p:grpSpPr>
          <a:xfrm>
            <a:off x="2102663" y="3489356"/>
            <a:ext cx="6019800" cy="471989"/>
            <a:chOff x="3600000" y="5715000"/>
            <a:chExt cx="6019800" cy="654441"/>
          </a:xfrm>
          <a:solidFill>
            <a:schemeClr val="bg1">
              <a:lumMod val="85000"/>
              <a:alpha val="67000"/>
            </a:schemeClr>
          </a:solidFill>
        </p:grpSpPr>
        <p:sp>
          <p:nvSpPr>
            <p:cNvPr id="27" name="Rounded Rectangle 25"/>
            <p:cNvSpPr/>
            <p:nvPr/>
          </p:nvSpPr>
          <p:spPr>
            <a:xfrm>
              <a:off x="3600000" y="5715000"/>
              <a:ext cx="625379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5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28" name="Rounded Rectangle 26"/>
            <p:cNvSpPr/>
            <p:nvPr/>
          </p:nvSpPr>
          <p:spPr>
            <a:xfrm>
              <a:off x="4397983" y="5715000"/>
              <a:ext cx="5221817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Projectos Estruturantes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</p:grp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ângulo arredondado 2"/>
          <p:cNvSpPr/>
          <p:nvPr/>
        </p:nvSpPr>
        <p:spPr bwMode="gray">
          <a:xfrm>
            <a:off x="378758" y="1796522"/>
            <a:ext cx="3838240" cy="114316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88900" indent="-88900" algn="just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</a:pPr>
            <a:endParaRPr lang="pt-PT" sz="1000" kern="0" dirty="0" smtClean="0">
              <a:solidFill>
                <a:sysClr val="windowText" lastClr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2" name="Rectângulo 1"/>
          <p:cNvSpPr/>
          <p:nvPr/>
        </p:nvSpPr>
        <p:spPr>
          <a:xfrm>
            <a:off x="378758" y="1775006"/>
            <a:ext cx="3838240" cy="11646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defTabSz="533400">
              <a:lnSpc>
                <a:spcPct val="150000"/>
              </a:lnSpc>
              <a:spcAft>
                <a:spcPct val="35000"/>
              </a:spcAft>
            </a:pPr>
            <a:r>
              <a:rPr lang="pt-PT" sz="1200" b="1" dirty="0" smtClean="0">
                <a:solidFill>
                  <a:schemeClr val="accent6">
                    <a:lumMod val="75000"/>
                  </a:schemeClr>
                </a:solidFill>
                <a:latin typeface="+mn-lt"/>
              </a:rPr>
              <a:t>Aumentar a qualidade do fornecimento de energia eléctrica, para satisfazer as necessidades de consumo induzidas pelo desenvolvimento económico e social no País</a:t>
            </a:r>
            <a:endParaRPr lang="pt-PT" sz="1200" b="1" dirty="0">
              <a:solidFill>
                <a:schemeClr val="accent6">
                  <a:lumMod val="75000"/>
                </a:schemeClr>
              </a:solidFill>
              <a:latin typeface="+mn-lt"/>
            </a:endParaRPr>
          </a:p>
        </p:txBody>
      </p:sp>
      <p:sp>
        <p:nvSpPr>
          <p:cNvPr id="4" name="Rectângulo arredondado 3"/>
          <p:cNvSpPr/>
          <p:nvPr/>
        </p:nvSpPr>
        <p:spPr bwMode="gray">
          <a:xfrm>
            <a:off x="378758" y="1409250"/>
            <a:ext cx="3838240" cy="344245"/>
          </a:xfrm>
          <a:prstGeom prst="roundRect">
            <a:avLst/>
          </a:prstGeom>
          <a:solidFill>
            <a:srgbClr val="FFC000"/>
          </a:solidFill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88900" indent="-88900" algn="just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</a:pPr>
            <a:endParaRPr lang="pt-PT" sz="1000" kern="0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1764264" y="1452272"/>
            <a:ext cx="1043876" cy="307777"/>
          </a:xfrm>
          <a:prstGeom prst="rect">
            <a:avLst/>
          </a:prstGeom>
          <a:ln w="9525"/>
        </p:spPr>
        <p:txBody>
          <a:bodyPr wrap="none" lIns="91440" tIns="45720" rIns="91440" bIns="4572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pt-PT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Objectivo</a:t>
            </a:r>
          </a:p>
        </p:txBody>
      </p:sp>
      <p:sp>
        <p:nvSpPr>
          <p:cNvPr id="6" name="Rectângulo arredondado 5"/>
          <p:cNvSpPr/>
          <p:nvPr/>
        </p:nvSpPr>
        <p:spPr bwMode="gray">
          <a:xfrm>
            <a:off x="4496696" y="1366191"/>
            <a:ext cx="5195943" cy="205799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88900" indent="-88900" algn="just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</a:pPr>
            <a:endParaRPr lang="pt-PT" sz="1000" kern="0" dirty="0" smtClean="0">
              <a:solidFill>
                <a:sysClr val="windowText" lastClr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7" name="Rectângulo 6"/>
          <p:cNvSpPr/>
          <p:nvPr/>
        </p:nvSpPr>
        <p:spPr>
          <a:xfrm>
            <a:off x="4690333" y="1460574"/>
            <a:ext cx="4787153" cy="19636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lvl="1" indent="-228600" algn="just" defTabSz="400050">
              <a:lnSpc>
                <a:spcPct val="90000"/>
              </a:lnSpc>
              <a:spcAft>
                <a:spcPct val="15000"/>
              </a:spcAft>
              <a:buFont typeface="+mj-lt"/>
              <a:buAutoNum type="arabicPeriod"/>
            </a:pPr>
            <a:r>
              <a:rPr lang="pt-PT" sz="1200" b="1" dirty="0" smtClean="0">
                <a:latin typeface="+mn-lt"/>
              </a:rPr>
              <a:t>Aumentar a capacidade de produção, com o     recurso à recuperação e construção de novas centrais hidroeléctricas e termoeléctricas;</a:t>
            </a:r>
            <a:endParaRPr lang="pt-PT" sz="1200" dirty="0" smtClean="0">
              <a:latin typeface="+mn-lt"/>
            </a:endParaRPr>
          </a:p>
          <a:p>
            <a:pPr marL="228600" lvl="1" indent="-228600" algn="just" defTabSz="400050">
              <a:lnSpc>
                <a:spcPct val="90000"/>
              </a:lnSpc>
              <a:spcBef>
                <a:spcPts val="600"/>
              </a:spcBef>
              <a:spcAft>
                <a:spcPct val="15000"/>
              </a:spcAft>
              <a:buFont typeface="+mj-lt"/>
              <a:buAutoNum type="arabicPeriod"/>
            </a:pPr>
            <a:r>
              <a:rPr lang="pt-PT" sz="1200" b="1" dirty="0" smtClean="0">
                <a:latin typeface="+mn-lt"/>
              </a:rPr>
              <a:t>Desenvolver a Rede Nacional de Transporte com a reabilitação e construção de linhas e subestações, incluindo a interligação </a:t>
            </a:r>
            <a:r>
              <a:rPr lang="pt-PT" sz="1200" b="1" dirty="0" err="1" smtClean="0">
                <a:latin typeface="+mn-lt"/>
              </a:rPr>
              <a:t>Norte-Centro-Sul</a:t>
            </a:r>
            <a:endParaRPr lang="pt-PT" sz="1200" b="1" dirty="0" smtClean="0">
              <a:latin typeface="+mn-lt"/>
            </a:endParaRPr>
          </a:p>
          <a:p>
            <a:pPr marL="228600" lvl="1" indent="-228600" algn="just" defTabSz="400050">
              <a:lnSpc>
                <a:spcPct val="90000"/>
              </a:lnSpc>
              <a:spcBef>
                <a:spcPts val="600"/>
              </a:spcBef>
              <a:spcAft>
                <a:spcPct val="15000"/>
              </a:spcAft>
              <a:buFont typeface="+mj-lt"/>
              <a:buAutoNum type="arabicPeriod"/>
            </a:pPr>
            <a:r>
              <a:rPr lang="pt-PT" sz="1200" b="1" dirty="0" smtClean="0">
                <a:latin typeface="+mn-lt"/>
              </a:rPr>
              <a:t>Promover a reabilitação e a construção de redes de distribuição de energia eléctrica nas áreas urbanas, </a:t>
            </a:r>
            <a:r>
              <a:rPr lang="pt-PT" sz="1200" b="1" dirty="0" err="1" smtClean="0">
                <a:latin typeface="+mn-lt"/>
              </a:rPr>
              <a:t>peri-urbanas</a:t>
            </a:r>
            <a:r>
              <a:rPr lang="pt-PT" sz="1200" b="1" dirty="0" smtClean="0">
                <a:latin typeface="+mn-lt"/>
              </a:rPr>
              <a:t> e rurais, com o recurso a soluções técnicas mais económicas</a:t>
            </a:r>
            <a:endParaRPr lang="pt-PT" sz="1200" b="1" dirty="0">
              <a:latin typeface="+mn-lt"/>
            </a:endParaRPr>
          </a:p>
        </p:txBody>
      </p:sp>
      <p:sp>
        <p:nvSpPr>
          <p:cNvPr id="8" name="Rectângulo arredondado 7"/>
          <p:cNvSpPr/>
          <p:nvPr/>
        </p:nvSpPr>
        <p:spPr bwMode="gray">
          <a:xfrm>
            <a:off x="4496697" y="1000436"/>
            <a:ext cx="5195942" cy="344245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88900" indent="-88900" algn="just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</a:pPr>
            <a:endParaRPr lang="pt-PT" sz="1000" kern="0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6359566" y="1043458"/>
            <a:ext cx="1152880" cy="307777"/>
          </a:xfrm>
          <a:prstGeom prst="rect">
            <a:avLst/>
          </a:prstGeom>
          <a:ln w="9525"/>
        </p:spPr>
        <p:txBody>
          <a:bodyPr wrap="none" lIns="91440" tIns="45720" rIns="91440" bIns="4572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lang="pt-PT" sz="1400" b="1" dirty="0" smtClean="0">
                <a:solidFill>
                  <a:schemeClr val="bg1"/>
                </a:solidFill>
                <a:latin typeface="+mn-lt"/>
                <a:cs typeface="+mn-cs"/>
              </a:rPr>
              <a:t>Prioridades</a:t>
            </a:r>
            <a:endParaRPr kumimoji="0" lang="pt-PT" sz="1400" b="1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CaixaDeTexto 10"/>
          <p:cNvSpPr txBox="1"/>
          <p:nvPr/>
        </p:nvSpPr>
        <p:spPr>
          <a:xfrm>
            <a:off x="1097281" y="268941"/>
            <a:ext cx="7074373" cy="338554"/>
          </a:xfrm>
          <a:prstGeom prst="rect">
            <a:avLst/>
          </a:prstGeom>
          <a:ln w="9525"/>
        </p:spPr>
        <p:txBody>
          <a:bodyPr wrap="none" lIns="91440" tIns="45720" rIns="91440" bIns="4572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lang="pt-PT" sz="1600" b="1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cs typeface="+mn-cs"/>
              </a:rPr>
              <a:t>Objectivos e Metas definidas no Plano Nacional de Desenvolvimento</a:t>
            </a:r>
            <a:endParaRPr kumimoji="0" lang="pt-PT" sz="1600" b="1" i="0" u="none" strike="noStrike" kern="1200" cap="none" spc="0" normalizeH="0" baseline="0" noProof="0" dirty="0" smtClean="0">
              <a:ln>
                <a:noFill/>
              </a:ln>
              <a:solidFill>
                <a:schemeClr val="accent6">
                  <a:lumMod val="60000"/>
                  <a:lumOff val="4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aphicFrame>
        <p:nvGraphicFramePr>
          <p:cNvPr id="12" name="Tabela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8929497"/>
              </p:ext>
            </p:extLst>
          </p:nvPr>
        </p:nvGraphicFramePr>
        <p:xfrm>
          <a:off x="142875" y="3754410"/>
          <a:ext cx="9549765" cy="2260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9705"/>
                <a:gridCol w="594290"/>
                <a:gridCol w="594290"/>
                <a:gridCol w="594290"/>
                <a:gridCol w="594290"/>
                <a:gridCol w="594290"/>
                <a:gridCol w="594290"/>
                <a:gridCol w="594290"/>
                <a:gridCol w="594290"/>
                <a:gridCol w="594290"/>
                <a:gridCol w="594290"/>
                <a:gridCol w="685520"/>
                <a:gridCol w="503060"/>
                <a:gridCol w="594290"/>
                <a:gridCol w="594290"/>
              </a:tblGrid>
              <a:tr h="370840">
                <a:tc rowSpan="2">
                  <a:txBody>
                    <a:bodyPr/>
                    <a:lstStyle/>
                    <a:p>
                      <a:pPr algn="ctr"/>
                      <a:r>
                        <a:rPr lang="pt-PT" sz="1200" dirty="0" smtClean="0"/>
                        <a:t>Indicadores</a:t>
                      </a:r>
                      <a:endParaRPr lang="pt-PT" sz="1200" dirty="0"/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pt-PT" sz="1200" dirty="0" smtClean="0"/>
                        <a:t>2012</a:t>
                      </a:r>
                      <a:endParaRPr lang="pt-PT" sz="12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pt-PT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pt-PT" sz="1200" dirty="0" smtClean="0"/>
                        <a:t>2013</a:t>
                      </a:r>
                      <a:endParaRPr lang="pt-PT" sz="12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pt-PT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pt-PT" sz="1200" dirty="0" smtClean="0"/>
                        <a:t>2014</a:t>
                      </a:r>
                      <a:endParaRPr lang="pt-PT" sz="12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pt-PT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pt-PT" sz="1200" dirty="0" smtClean="0"/>
                        <a:t>2015 </a:t>
                      </a:r>
                      <a:endParaRPr lang="pt-PT" sz="12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pt-PT" sz="12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pt-PT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200" dirty="0" smtClean="0"/>
                        <a:t>2016</a:t>
                      </a:r>
                      <a:endParaRPr lang="pt-PT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200" dirty="0" smtClean="0"/>
                        <a:t>2017</a:t>
                      </a:r>
                      <a:endParaRPr lang="pt-PT" sz="1200" dirty="0"/>
                    </a:p>
                  </a:txBody>
                  <a:tcPr anchor="ctr"/>
                </a:tc>
              </a:tr>
              <a:tr h="370840">
                <a:tc vMerge="1">
                  <a:txBody>
                    <a:bodyPr/>
                    <a:lstStyle/>
                    <a:p>
                      <a:endParaRPr lang="pt-PT" sz="1200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b="1" dirty="0" smtClean="0">
                          <a:solidFill>
                            <a:schemeClr val="tx1"/>
                          </a:solidFill>
                        </a:rPr>
                        <a:t>Meta</a:t>
                      </a:r>
                      <a:endParaRPr lang="pt-PT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b="1" dirty="0" smtClean="0">
                          <a:solidFill>
                            <a:schemeClr val="tx1"/>
                          </a:solidFill>
                        </a:rPr>
                        <a:t>Real</a:t>
                      </a:r>
                      <a:endParaRPr lang="pt-PT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b="1" dirty="0" err="1" smtClean="0">
                          <a:solidFill>
                            <a:schemeClr val="tx1"/>
                          </a:solidFill>
                        </a:rPr>
                        <a:t>Var</a:t>
                      </a:r>
                      <a:endParaRPr lang="pt-PT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b="1" dirty="0" smtClean="0">
                          <a:solidFill>
                            <a:schemeClr val="tx1"/>
                          </a:solidFill>
                        </a:rPr>
                        <a:t>Meta</a:t>
                      </a:r>
                      <a:endParaRPr lang="pt-PT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b="1" dirty="0" smtClean="0">
                          <a:solidFill>
                            <a:schemeClr val="tx1"/>
                          </a:solidFill>
                        </a:rPr>
                        <a:t>Real</a:t>
                      </a:r>
                      <a:endParaRPr lang="pt-PT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b="1" dirty="0" err="1" smtClean="0">
                          <a:solidFill>
                            <a:schemeClr val="tx1"/>
                          </a:solidFill>
                        </a:rPr>
                        <a:t>Var</a:t>
                      </a:r>
                      <a:endParaRPr lang="pt-PT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b="1" dirty="0" smtClean="0">
                          <a:solidFill>
                            <a:schemeClr val="tx1"/>
                          </a:solidFill>
                        </a:rPr>
                        <a:t>Meta</a:t>
                      </a:r>
                      <a:endParaRPr lang="pt-PT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b="1" dirty="0" smtClean="0">
                          <a:solidFill>
                            <a:schemeClr val="tx1"/>
                          </a:solidFill>
                        </a:rPr>
                        <a:t>Real</a:t>
                      </a:r>
                      <a:endParaRPr lang="pt-PT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b="1" dirty="0" err="1" smtClean="0">
                          <a:solidFill>
                            <a:schemeClr val="tx1"/>
                          </a:solidFill>
                        </a:rPr>
                        <a:t>Var</a:t>
                      </a:r>
                      <a:endParaRPr lang="pt-PT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b="1" dirty="0" smtClean="0">
                          <a:solidFill>
                            <a:schemeClr val="tx1"/>
                          </a:solidFill>
                        </a:rPr>
                        <a:t>Meta</a:t>
                      </a:r>
                      <a:endParaRPr lang="pt-PT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b="1" dirty="0" smtClean="0">
                          <a:solidFill>
                            <a:schemeClr val="tx1"/>
                          </a:solidFill>
                        </a:rPr>
                        <a:t>Real (1ºSem)</a:t>
                      </a:r>
                      <a:endParaRPr lang="pt-PT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b="1" dirty="0" err="1" smtClean="0">
                          <a:solidFill>
                            <a:schemeClr val="tx1"/>
                          </a:solidFill>
                        </a:rPr>
                        <a:t>Var</a:t>
                      </a:r>
                      <a:endParaRPr lang="pt-PT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b="1" dirty="0" smtClean="0">
                          <a:solidFill>
                            <a:schemeClr val="tx1"/>
                          </a:solidFill>
                        </a:rPr>
                        <a:t>Meta</a:t>
                      </a:r>
                      <a:endParaRPr lang="pt-PT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b="1" dirty="0" smtClean="0">
                          <a:solidFill>
                            <a:schemeClr val="tx1"/>
                          </a:solidFill>
                        </a:rPr>
                        <a:t>Meta</a:t>
                      </a:r>
                      <a:endParaRPr lang="pt-PT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PT" sz="1000" b="1" dirty="0" err="1" smtClean="0">
                          <a:solidFill>
                            <a:schemeClr val="tx1"/>
                          </a:solidFill>
                        </a:rPr>
                        <a:t>Pot</a:t>
                      </a:r>
                      <a:r>
                        <a:rPr lang="pt-PT" sz="1000" b="1" dirty="0" smtClean="0">
                          <a:solidFill>
                            <a:schemeClr val="tx1"/>
                          </a:solidFill>
                        </a:rPr>
                        <a:t>. </a:t>
                      </a:r>
                      <a:r>
                        <a:rPr lang="pt-PT" sz="1000" b="1" dirty="0" err="1" smtClean="0">
                          <a:solidFill>
                            <a:schemeClr val="tx1"/>
                          </a:solidFill>
                        </a:rPr>
                        <a:t>Tot</a:t>
                      </a:r>
                      <a:r>
                        <a:rPr lang="pt-PT" sz="1000" b="1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r>
                        <a:rPr lang="pt-PT" sz="1000" b="1" baseline="0" dirty="0" smtClean="0">
                          <a:solidFill>
                            <a:schemeClr val="tx1"/>
                          </a:solidFill>
                        </a:rPr>
                        <a:t> Instalada (MW)</a:t>
                      </a:r>
                      <a:endParaRPr lang="pt-PT" sz="10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1.917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1.763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-8%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2.486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2020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-19%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2.861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2.220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-22%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3.561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2.388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-23%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5.828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7.879</a:t>
                      </a:r>
                      <a:endParaRPr lang="pt-PT" sz="10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PT" sz="1000" b="1" dirty="0" smtClean="0">
                          <a:solidFill>
                            <a:schemeClr val="tx1"/>
                          </a:solidFill>
                        </a:rPr>
                        <a:t>Produção</a:t>
                      </a:r>
                      <a:r>
                        <a:rPr lang="pt-PT" sz="1000" b="1" baseline="0" dirty="0" smtClean="0">
                          <a:solidFill>
                            <a:schemeClr val="tx1"/>
                          </a:solidFill>
                        </a:rPr>
                        <a:t> Electricidade (GWH)</a:t>
                      </a:r>
                      <a:endParaRPr lang="pt-PT" sz="10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7.710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7.710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0%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9.553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8.142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-15%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12.618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9.500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-25%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17.018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4.932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-42%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21.168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34.346</a:t>
                      </a:r>
                      <a:endParaRPr lang="pt-PT" sz="10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PT" sz="1000" b="1" dirty="0" smtClean="0">
                          <a:solidFill>
                            <a:schemeClr val="tx1"/>
                          </a:solidFill>
                        </a:rPr>
                        <a:t>Energia </a:t>
                      </a:r>
                      <a:r>
                        <a:rPr lang="pt-PT" sz="1000" b="1" dirty="0" err="1" smtClean="0">
                          <a:solidFill>
                            <a:schemeClr val="tx1"/>
                          </a:solidFill>
                        </a:rPr>
                        <a:t>Distribuida</a:t>
                      </a:r>
                      <a:r>
                        <a:rPr lang="pt-PT" sz="1000" b="1" dirty="0" smtClean="0">
                          <a:solidFill>
                            <a:schemeClr val="tx1"/>
                          </a:solidFill>
                        </a:rPr>
                        <a:t> (GWH)</a:t>
                      </a:r>
                      <a:endParaRPr lang="pt-PT" sz="10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6.554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5.375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-18%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8.120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6.797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-16%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10.725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7.970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-26%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14.465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4.344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-40%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17.993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29.194</a:t>
                      </a:r>
                      <a:endParaRPr lang="pt-PT" sz="1000" dirty="0"/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13" name="Rounded Rectangle 12"/>
          <p:cNvSpPr/>
          <p:nvPr/>
        </p:nvSpPr>
        <p:spPr>
          <a:xfrm>
            <a:off x="8171655" y="185816"/>
            <a:ext cx="1520984" cy="488797"/>
          </a:xfrm>
          <a:prstGeom prst="roundRect">
            <a:avLst/>
          </a:prstGeom>
          <a:solidFill>
            <a:schemeClr val="bg1">
              <a:lumMod val="85000"/>
              <a:alpha val="67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Ins="36000" rtlCol="0" anchor="ctr"/>
          <a:lstStyle/>
          <a:p>
            <a:pPr algn="ctr"/>
            <a:r>
              <a:rPr lang="pt-PT" sz="1600" b="1" dirty="0" smtClean="0">
                <a:solidFill>
                  <a:schemeClr val="tx1"/>
                </a:solidFill>
              </a:rPr>
              <a:t>Introdução</a:t>
            </a:r>
            <a:endParaRPr lang="pt-PT" sz="1600" b="1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ângulo arredondado 20"/>
          <p:cNvSpPr/>
          <p:nvPr/>
        </p:nvSpPr>
        <p:spPr bwMode="gray">
          <a:xfrm>
            <a:off x="4733365" y="4627577"/>
            <a:ext cx="4851705" cy="125687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88900" indent="-88900" algn="just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</a:pPr>
            <a:endParaRPr lang="pt-PT" sz="1000" kern="0" dirty="0" smtClean="0">
              <a:solidFill>
                <a:sysClr val="windowText" lastClr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20" name="Rectângulo arredondado 19"/>
          <p:cNvSpPr/>
          <p:nvPr/>
        </p:nvSpPr>
        <p:spPr bwMode="gray">
          <a:xfrm>
            <a:off x="4733365" y="4044886"/>
            <a:ext cx="4851705" cy="47511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88900" indent="-88900" algn="just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</a:pPr>
            <a:endParaRPr lang="pt-PT" sz="1000" kern="0" dirty="0" smtClean="0">
              <a:solidFill>
                <a:sysClr val="windowText" lastClr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11" name="CaixaDeTexto 10"/>
          <p:cNvSpPr txBox="1"/>
          <p:nvPr/>
        </p:nvSpPr>
        <p:spPr>
          <a:xfrm>
            <a:off x="1097281" y="268941"/>
            <a:ext cx="7074373" cy="338554"/>
          </a:xfrm>
          <a:prstGeom prst="rect">
            <a:avLst/>
          </a:prstGeom>
          <a:ln w="9525"/>
        </p:spPr>
        <p:txBody>
          <a:bodyPr wrap="none" lIns="91440" tIns="45720" rIns="91440" bIns="4572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lang="pt-PT" sz="1600" b="1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cs typeface="+mn-cs"/>
              </a:rPr>
              <a:t>Objectivos e Metas definidas no Plano Nacional de Desenvolvimento</a:t>
            </a:r>
            <a:endParaRPr kumimoji="0" lang="pt-PT" sz="1600" b="1" i="0" u="none" strike="noStrike" kern="1200" cap="none" spc="0" normalizeH="0" baseline="0" noProof="0" dirty="0" smtClean="0">
              <a:ln>
                <a:noFill/>
              </a:ln>
              <a:solidFill>
                <a:schemeClr val="accent6">
                  <a:lumMod val="60000"/>
                  <a:lumOff val="4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8" name="CaixaDeTexto 17"/>
          <p:cNvSpPr txBox="1"/>
          <p:nvPr/>
        </p:nvSpPr>
        <p:spPr>
          <a:xfrm>
            <a:off x="4733365" y="4058332"/>
            <a:ext cx="4851705" cy="461665"/>
          </a:xfrm>
          <a:prstGeom prst="rect">
            <a:avLst/>
          </a:prstGeom>
          <a:ln w="9525"/>
        </p:spPr>
        <p:txBody>
          <a:bodyPr wrap="square" lIns="91440" tIns="45720" rIns="91440" bIns="45720" rtlCol="0"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pt-PT" sz="12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Realizações 2015</a:t>
            </a:r>
            <a:r>
              <a:rPr kumimoji="0" lang="pt-PT" sz="1200" b="1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 -2017 com maior impacto nos indicadores de Energia Eléctrica</a:t>
            </a:r>
            <a:endParaRPr kumimoji="0" lang="pt-PT" sz="1200" b="1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9" name="CaixaDeTexto 18"/>
          <p:cNvSpPr txBox="1"/>
          <p:nvPr/>
        </p:nvSpPr>
        <p:spPr>
          <a:xfrm>
            <a:off x="4733365" y="4745916"/>
            <a:ext cx="4819432" cy="984885"/>
          </a:xfrm>
          <a:prstGeom prst="rect">
            <a:avLst/>
          </a:prstGeom>
          <a:ln w="9525"/>
        </p:spPr>
        <p:txBody>
          <a:bodyPr wrap="square" lIns="91440" tIns="45720" rIns="91440" bIns="45720" rtlCol="0">
            <a:spAutoFit/>
          </a:bodyPr>
          <a:lstStyle/>
          <a:p>
            <a:pPr marL="342900" marR="0" indent="-342900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r>
              <a:rPr kumimoji="0" lang="pt-P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016 - C</a:t>
            </a:r>
            <a:r>
              <a:rPr kumimoji="0" lang="pt-PT" sz="1200" b="1" i="0" u="none" strike="noStrike" kern="1200" cap="none" spc="0" normalizeH="0" noProof="0" dirty="0" smtClean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 </a:t>
            </a:r>
            <a:r>
              <a:rPr kumimoji="0" lang="pt-PT" sz="1200" b="1" i="0" u="none" strike="noStrike" kern="1200" cap="none" spc="0" normalizeH="0" noProof="0" dirty="0" err="1" smtClean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ambambe</a:t>
            </a:r>
            <a:r>
              <a:rPr kumimoji="0" lang="pt-PT" sz="1200" b="1" i="0" u="none" strike="noStrike" kern="1200" cap="none" spc="0" normalizeH="0" noProof="0" dirty="0" smtClean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II (700MW) e conclusão do </a:t>
            </a:r>
            <a:r>
              <a:rPr kumimoji="0" lang="pt-PT" sz="1200" b="1" i="0" u="none" strike="noStrike" kern="1200" cap="none" spc="0" normalizeH="0" noProof="0" dirty="0" err="1" smtClean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lteamento</a:t>
            </a:r>
            <a:r>
              <a:rPr kumimoji="0" lang="pt-PT" sz="1200" b="1" i="0" u="none" strike="noStrike" kern="1200" cap="none" spc="0" normalizeH="0" noProof="0" dirty="0" smtClean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da CH </a:t>
            </a:r>
            <a:r>
              <a:rPr kumimoji="0" lang="pt-PT" sz="1200" b="1" i="0" u="none" strike="noStrike" kern="1200" cap="none" spc="0" normalizeH="0" noProof="0" dirty="0" err="1" smtClean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ambambe</a:t>
            </a:r>
            <a:r>
              <a:rPr kumimoji="0" lang="pt-PT" sz="1200" b="1" i="0" u="none" strike="noStrike" kern="1200" cap="none" spc="0" normalizeH="0" noProof="0" dirty="0" smtClean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I (mais 80MW)</a:t>
            </a:r>
          </a:p>
          <a:p>
            <a:pPr marL="342900" marR="0" indent="-342900" algn="just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r>
              <a:rPr lang="pt-PT" sz="1200" b="1" dirty="0" smtClean="0">
                <a:solidFill>
                  <a:schemeClr val="accent6">
                    <a:lumMod val="75000"/>
                  </a:schemeClr>
                </a:solidFill>
                <a:latin typeface="+mn-lt"/>
                <a:cs typeface="+mn-cs"/>
              </a:rPr>
              <a:t>2017 – CH </a:t>
            </a:r>
            <a:r>
              <a:rPr lang="pt-PT" sz="1200" b="1" dirty="0" err="1" smtClean="0">
                <a:solidFill>
                  <a:schemeClr val="accent6">
                    <a:lumMod val="75000"/>
                  </a:schemeClr>
                </a:solidFill>
                <a:latin typeface="+mn-lt"/>
                <a:cs typeface="+mn-cs"/>
              </a:rPr>
              <a:t>Laúca</a:t>
            </a:r>
            <a:r>
              <a:rPr lang="pt-PT" sz="1200" b="1" dirty="0" smtClean="0">
                <a:solidFill>
                  <a:schemeClr val="accent6">
                    <a:lumMod val="75000"/>
                  </a:schemeClr>
                </a:solidFill>
                <a:latin typeface="+mn-lt"/>
                <a:cs typeface="+mn-cs"/>
              </a:rPr>
              <a:t> (2.004MW + 67MW)</a:t>
            </a:r>
          </a:p>
          <a:p>
            <a:pPr marL="342900" marR="0" indent="-342900" algn="just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</a:pPr>
            <a:r>
              <a:rPr kumimoji="0" lang="pt-PT" sz="1200" b="1" i="0" u="none" strike="noStrike" kern="1200" cap="none" spc="0" normalizeH="0" noProof="0" dirty="0" smtClean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017 – CC </a:t>
            </a:r>
            <a:r>
              <a:rPr kumimoji="0" lang="pt-PT" sz="1200" b="1" i="0" u="none" strike="noStrike" kern="1200" cap="none" spc="0" normalizeH="0" noProof="0" dirty="0" err="1" smtClean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oyo</a:t>
            </a:r>
            <a:r>
              <a:rPr kumimoji="0" lang="pt-PT" sz="1200" b="1" i="0" u="none" strike="noStrike" kern="1200" cap="none" spc="0" normalizeH="0" noProof="0" dirty="0" smtClean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(500MW)</a:t>
            </a:r>
          </a:p>
        </p:txBody>
      </p:sp>
      <p:sp>
        <p:nvSpPr>
          <p:cNvPr id="12" name="Rounded Rectangle 12"/>
          <p:cNvSpPr/>
          <p:nvPr/>
        </p:nvSpPr>
        <p:spPr>
          <a:xfrm>
            <a:off x="8171655" y="185816"/>
            <a:ext cx="1520984" cy="488797"/>
          </a:xfrm>
          <a:prstGeom prst="roundRect">
            <a:avLst/>
          </a:prstGeom>
          <a:solidFill>
            <a:schemeClr val="bg1">
              <a:lumMod val="85000"/>
              <a:alpha val="67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Ins="36000" rtlCol="0" anchor="ctr"/>
          <a:lstStyle/>
          <a:p>
            <a:pPr algn="ctr"/>
            <a:r>
              <a:rPr lang="pt-PT" sz="1600" b="1" dirty="0" smtClean="0">
                <a:solidFill>
                  <a:schemeClr val="tx1"/>
                </a:solidFill>
              </a:rPr>
              <a:t>Introdução</a:t>
            </a:r>
            <a:endParaRPr lang="pt-PT" sz="1600" b="1" dirty="0">
              <a:solidFill>
                <a:schemeClr val="tx1"/>
              </a:solidFill>
            </a:endParaRPr>
          </a:p>
        </p:txBody>
      </p:sp>
      <p:graphicFrame>
        <p:nvGraphicFramePr>
          <p:cNvPr id="14" name="Gráfico 13"/>
          <p:cNvGraphicFramePr/>
          <p:nvPr/>
        </p:nvGraphicFramePr>
        <p:xfrm>
          <a:off x="161365" y="1003150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5" name="Gráfico 14"/>
          <p:cNvGraphicFramePr/>
          <p:nvPr/>
        </p:nvGraphicFramePr>
        <p:xfrm>
          <a:off x="4980797" y="1003150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6" name="Gráfico 15"/>
          <p:cNvGraphicFramePr/>
          <p:nvPr/>
        </p:nvGraphicFramePr>
        <p:xfrm>
          <a:off x="161365" y="3619500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7" name="CaixaDeTexto 16"/>
          <p:cNvSpPr txBox="1"/>
          <p:nvPr/>
        </p:nvSpPr>
        <p:spPr>
          <a:xfrm>
            <a:off x="2417980" y="3371076"/>
            <a:ext cx="250390" cy="276999"/>
          </a:xfrm>
          <a:prstGeom prst="rect">
            <a:avLst/>
          </a:prstGeom>
          <a:ln w="9525"/>
        </p:spPr>
        <p:txBody>
          <a:bodyPr wrap="square" lIns="91440" tIns="45720" rIns="91440" bIns="4572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pt-PT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*</a:t>
            </a:r>
          </a:p>
        </p:txBody>
      </p:sp>
      <p:sp>
        <p:nvSpPr>
          <p:cNvPr id="22" name="CaixaDeTexto 21"/>
          <p:cNvSpPr txBox="1"/>
          <p:nvPr/>
        </p:nvSpPr>
        <p:spPr>
          <a:xfrm>
            <a:off x="7266205" y="3361551"/>
            <a:ext cx="250390" cy="276999"/>
          </a:xfrm>
          <a:prstGeom prst="rect">
            <a:avLst/>
          </a:prstGeom>
          <a:ln w="9525"/>
        </p:spPr>
        <p:txBody>
          <a:bodyPr wrap="square" lIns="91440" tIns="45720" rIns="91440" bIns="4572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pt-PT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*</a:t>
            </a:r>
          </a:p>
        </p:txBody>
      </p:sp>
      <p:sp>
        <p:nvSpPr>
          <p:cNvPr id="23" name="CaixaDeTexto 22"/>
          <p:cNvSpPr txBox="1"/>
          <p:nvPr/>
        </p:nvSpPr>
        <p:spPr>
          <a:xfrm>
            <a:off x="2437030" y="5990451"/>
            <a:ext cx="250390" cy="276999"/>
          </a:xfrm>
          <a:prstGeom prst="rect">
            <a:avLst/>
          </a:prstGeom>
          <a:ln w="9525"/>
        </p:spPr>
        <p:txBody>
          <a:bodyPr wrap="square" lIns="91440" tIns="45720" rIns="91440" bIns="4572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pt-PT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*</a:t>
            </a:r>
          </a:p>
        </p:txBody>
      </p:sp>
      <p:sp>
        <p:nvSpPr>
          <p:cNvPr id="24" name="CaixaDeTexto 23"/>
          <p:cNvSpPr txBox="1"/>
          <p:nvPr/>
        </p:nvSpPr>
        <p:spPr>
          <a:xfrm>
            <a:off x="3199029" y="6390501"/>
            <a:ext cx="3239871" cy="276999"/>
          </a:xfrm>
          <a:prstGeom prst="rect">
            <a:avLst/>
          </a:prstGeom>
          <a:ln w="9525"/>
        </p:spPr>
        <p:txBody>
          <a:bodyPr wrap="square" lIns="91440" tIns="45720" rIns="91440" bIns="4572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pt-PT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* - </a:t>
            </a:r>
            <a:r>
              <a:rPr kumimoji="0" lang="pt-PT" sz="11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Valor Real relativo ao 1º semestre de 2015 </a:t>
            </a:r>
          </a:p>
        </p:txBody>
      </p:sp>
    </p:spTree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2987779"/>
              </p:ext>
            </p:extLst>
          </p:nvPr>
        </p:nvGraphicFramePr>
        <p:xfrm>
          <a:off x="1259078" y="1019175"/>
          <a:ext cx="6997699" cy="2607835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901698"/>
                <a:gridCol w="749300"/>
                <a:gridCol w="774700"/>
                <a:gridCol w="687971"/>
                <a:gridCol w="836029"/>
                <a:gridCol w="717583"/>
                <a:gridCol w="844517"/>
                <a:gridCol w="709095"/>
                <a:gridCol w="776806"/>
              </a:tblGrid>
              <a:tr h="408010">
                <a:tc rowSpan="2">
                  <a:txBody>
                    <a:bodyPr/>
                    <a:lstStyle/>
                    <a:p>
                      <a:pPr algn="ctr"/>
                      <a:r>
                        <a:rPr lang="pt-PT" sz="1100" dirty="0" smtClean="0"/>
                        <a:t>Sistema</a:t>
                      </a:r>
                      <a:endParaRPr lang="pt-PT" sz="1100" dirty="0"/>
                    </a:p>
                  </a:txBody>
                  <a:tcPr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pt-PT" sz="1100" dirty="0" smtClean="0"/>
                        <a:t>2012</a:t>
                      </a:r>
                      <a:endParaRPr lang="pt-PT" sz="1100" dirty="0"/>
                    </a:p>
                  </a:txBody>
                  <a:tcPr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pt-PT" sz="1100" dirty="0"/>
                    </a:p>
                  </a:txBody>
                  <a:tcPr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pt-PT" sz="1100" dirty="0" smtClean="0"/>
                        <a:t>2013</a:t>
                      </a:r>
                      <a:endParaRPr lang="pt-PT" sz="1100" dirty="0"/>
                    </a:p>
                  </a:txBody>
                  <a:tcPr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pt-PT" sz="1100" dirty="0"/>
                    </a:p>
                  </a:txBody>
                  <a:tcPr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pt-PT" sz="1100" dirty="0" smtClean="0"/>
                        <a:t>2014</a:t>
                      </a:r>
                      <a:endParaRPr lang="pt-PT" sz="1100" dirty="0"/>
                    </a:p>
                  </a:txBody>
                  <a:tcPr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pt-PT" sz="1100" dirty="0"/>
                    </a:p>
                  </a:txBody>
                  <a:tcPr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pt-PT" sz="1100" dirty="0" smtClean="0"/>
                        <a:t>2015 (1ºSem.)</a:t>
                      </a:r>
                      <a:endParaRPr lang="pt-PT" sz="1100" dirty="0"/>
                    </a:p>
                  </a:txBody>
                  <a:tcPr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pt-PT" sz="1100" dirty="0"/>
                    </a:p>
                  </a:txBody>
                  <a:tcPr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8867">
                <a:tc vMerge="1">
                  <a:txBody>
                    <a:bodyPr/>
                    <a:lstStyle/>
                    <a:p>
                      <a:endParaRPr lang="pt-PT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err="1" smtClean="0">
                          <a:solidFill>
                            <a:schemeClr val="bg1"/>
                          </a:solidFill>
                        </a:rPr>
                        <a:t>Pot</a:t>
                      </a:r>
                      <a:r>
                        <a:rPr lang="pt-PT" sz="1000" dirty="0" smtClean="0">
                          <a:solidFill>
                            <a:schemeClr val="bg1"/>
                          </a:solidFill>
                        </a:rPr>
                        <a:t>. </a:t>
                      </a:r>
                      <a:r>
                        <a:rPr lang="pt-PT" sz="1000" dirty="0" err="1" smtClean="0">
                          <a:solidFill>
                            <a:schemeClr val="bg1"/>
                          </a:solidFill>
                        </a:rPr>
                        <a:t>Inst</a:t>
                      </a:r>
                      <a:r>
                        <a:rPr lang="pt-PT" sz="1000" dirty="0" smtClean="0">
                          <a:solidFill>
                            <a:schemeClr val="bg1"/>
                          </a:solidFill>
                        </a:rPr>
                        <a:t>. (MW)</a:t>
                      </a:r>
                      <a:endParaRPr lang="pt-PT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5577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>
                          <a:solidFill>
                            <a:schemeClr val="bg1"/>
                          </a:solidFill>
                        </a:rPr>
                        <a:t>Ponta (MW)</a:t>
                      </a:r>
                      <a:endParaRPr lang="pt-PT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5577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dirty="0" err="1" smtClean="0">
                          <a:solidFill>
                            <a:schemeClr val="bg1"/>
                          </a:solidFill>
                        </a:rPr>
                        <a:t>Pot</a:t>
                      </a:r>
                      <a:r>
                        <a:rPr lang="pt-PT" sz="1000" dirty="0" smtClean="0">
                          <a:solidFill>
                            <a:schemeClr val="bg1"/>
                          </a:solidFill>
                        </a:rPr>
                        <a:t>. </a:t>
                      </a:r>
                      <a:r>
                        <a:rPr lang="pt-PT" sz="1000" dirty="0" err="1" smtClean="0">
                          <a:solidFill>
                            <a:schemeClr val="bg1"/>
                          </a:solidFill>
                        </a:rPr>
                        <a:t>Inst</a:t>
                      </a:r>
                      <a:r>
                        <a:rPr lang="pt-PT" sz="1000" dirty="0" smtClean="0">
                          <a:solidFill>
                            <a:schemeClr val="bg1"/>
                          </a:solidFill>
                        </a:rPr>
                        <a:t>. (MW)</a:t>
                      </a: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5577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>
                          <a:solidFill>
                            <a:schemeClr val="bg1"/>
                          </a:solidFill>
                        </a:rPr>
                        <a:t>Ponta (MW)</a:t>
                      </a:r>
                      <a:endParaRPr lang="pt-PT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5577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dirty="0" err="1" smtClean="0">
                          <a:solidFill>
                            <a:schemeClr val="bg1"/>
                          </a:solidFill>
                        </a:rPr>
                        <a:t>Pot</a:t>
                      </a:r>
                      <a:r>
                        <a:rPr lang="pt-PT" sz="1000" dirty="0" smtClean="0">
                          <a:solidFill>
                            <a:schemeClr val="bg1"/>
                          </a:solidFill>
                        </a:rPr>
                        <a:t>. </a:t>
                      </a:r>
                      <a:r>
                        <a:rPr lang="pt-PT" sz="1000" dirty="0" err="1" smtClean="0">
                          <a:solidFill>
                            <a:schemeClr val="bg1"/>
                          </a:solidFill>
                        </a:rPr>
                        <a:t>Inst</a:t>
                      </a:r>
                      <a:r>
                        <a:rPr lang="pt-PT" sz="1000" dirty="0" smtClean="0">
                          <a:solidFill>
                            <a:schemeClr val="bg1"/>
                          </a:solidFill>
                        </a:rPr>
                        <a:t>. (MW)</a:t>
                      </a: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5577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>
                          <a:solidFill>
                            <a:schemeClr val="bg1"/>
                          </a:solidFill>
                        </a:rPr>
                        <a:t>Ponta (MW</a:t>
                      </a:r>
                      <a:endParaRPr lang="pt-PT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5577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000" dirty="0" err="1" smtClean="0">
                          <a:solidFill>
                            <a:schemeClr val="bg1"/>
                          </a:solidFill>
                        </a:rPr>
                        <a:t>Pot</a:t>
                      </a:r>
                      <a:r>
                        <a:rPr lang="pt-PT" sz="1000" dirty="0" smtClean="0">
                          <a:solidFill>
                            <a:schemeClr val="bg1"/>
                          </a:solidFill>
                        </a:rPr>
                        <a:t>. </a:t>
                      </a:r>
                      <a:r>
                        <a:rPr lang="pt-PT" sz="1000" dirty="0" err="1" smtClean="0">
                          <a:solidFill>
                            <a:schemeClr val="bg1"/>
                          </a:solidFill>
                        </a:rPr>
                        <a:t>Inst</a:t>
                      </a:r>
                      <a:r>
                        <a:rPr lang="pt-PT" sz="1000" dirty="0" smtClean="0">
                          <a:solidFill>
                            <a:schemeClr val="bg1"/>
                          </a:solidFill>
                        </a:rPr>
                        <a:t>. (MW)</a:t>
                      </a: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5577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>
                          <a:solidFill>
                            <a:schemeClr val="bg1"/>
                          </a:solidFill>
                        </a:rPr>
                        <a:t>Ponta (MW)</a:t>
                      </a:r>
                      <a:endParaRPr lang="pt-PT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557799"/>
                    </a:solidFill>
                  </a:tcPr>
                </a:tc>
              </a:tr>
              <a:tr h="275373">
                <a:tc>
                  <a:txBody>
                    <a:bodyPr/>
                    <a:lstStyle/>
                    <a:p>
                      <a:pPr algn="ctr"/>
                      <a:r>
                        <a:rPr lang="pt-PT" sz="1100" b="1" dirty="0" smtClean="0"/>
                        <a:t>Norte</a:t>
                      </a:r>
                      <a:endParaRPr lang="pt-PT" sz="1100" b="1" dirty="0"/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1.297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783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1.447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967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1.501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1.096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1.630 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1098</a:t>
                      </a:r>
                      <a:endParaRPr lang="pt-PT" sz="1000" dirty="0"/>
                    </a:p>
                  </a:txBody>
                  <a:tcPr anchor="ctr"/>
                </a:tc>
              </a:tr>
              <a:tr h="275373">
                <a:tc>
                  <a:txBody>
                    <a:bodyPr/>
                    <a:lstStyle/>
                    <a:p>
                      <a:pPr algn="ctr"/>
                      <a:r>
                        <a:rPr lang="pt-PT" sz="1100" b="1" dirty="0" smtClean="0"/>
                        <a:t>Centro</a:t>
                      </a:r>
                      <a:endParaRPr lang="pt-PT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237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112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252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146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346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121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349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133</a:t>
                      </a:r>
                      <a:endParaRPr lang="pt-PT" sz="1000" dirty="0"/>
                    </a:p>
                  </a:txBody>
                  <a:tcPr anchor="ctr"/>
                </a:tc>
              </a:tr>
              <a:tr h="275373">
                <a:tc>
                  <a:txBody>
                    <a:bodyPr/>
                    <a:lstStyle/>
                    <a:p>
                      <a:pPr algn="ctr"/>
                      <a:r>
                        <a:rPr lang="pt-PT" sz="1100" b="1" dirty="0" smtClean="0"/>
                        <a:t>Su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113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67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180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84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180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90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183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104</a:t>
                      </a:r>
                      <a:endParaRPr lang="pt-PT" sz="1000" dirty="0"/>
                    </a:p>
                  </a:txBody>
                  <a:tcPr anchor="ctr"/>
                </a:tc>
              </a:tr>
              <a:tr h="275373">
                <a:tc>
                  <a:txBody>
                    <a:bodyPr/>
                    <a:lstStyle/>
                    <a:p>
                      <a:pPr algn="ctr"/>
                      <a:r>
                        <a:rPr lang="pt-PT" sz="1100" b="1" dirty="0" smtClean="0"/>
                        <a:t>Leste</a:t>
                      </a:r>
                      <a:endParaRPr lang="pt-PT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33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22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50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23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83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27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86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33</a:t>
                      </a:r>
                      <a:endParaRPr lang="pt-PT" sz="1000" dirty="0"/>
                    </a:p>
                  </a:txBody>
                  <a:tcPr anchor="ctr"/>
                </a:tc>
              </a:tr>
              <a:tr h="275373">
                <a:tc>
                  <a:txBody>
                    <a:bodyPr/>
                    <a:lstStyle/>
                    <a:p>
                      <a:pPr algn="ctr"/>
                      <a:r>
                        <a:rPr lang="pt-PT" sz="1100" b="1" dirty="0" smtClean="0"/>
                        <a:t>Cabinda</a:t>
                      </a:r>
                      <a:endParaRPr lang="pt-PT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83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50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91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53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110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65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140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77</a:t>
                      </a:r>
                      <a:endParaRPr lang="pt-PT" sz="1000" dirty="0"/>
                    </a:p>
                  </a:txBody>
                  <a:tcPr anchor="ctr"/>
                </a:tc>
              </a:tr>
              <a:tr h="408010">
                <a:tc>
                  <a:txBody>
                    <a:bodyPr/>
                    <a:lstStyle/>
                    <a:p>
                      <a:pPr algn="ctr"/>
                      <a:r>
                        <a:rPr lang="pt-PT" sz="1100" b="1" dirty="0" smtClean="0"/>
                        <a:t>Ponta </a:t>
                      </a:r>
                      <a:r>
                        <a:rPr lang="pt-PT" sz="1100" b="1" dirty="0" err="1" smtClean="0"/>
                        <a:t>Maxima</a:t>
                      </a:r>
                      <a:r>
                        <a:rPr lang="pt-PT" sz="1100" b="1" dirty="0" smtClean="0"/>
                        <a:t> </a:t>
                      </a:r>
                      <a:endParaRPr lang="pt-PT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b="1" dirty="0" smtClean="0"/>
                        <a:t>1.763</a:t>
                      </a:r>
                      <a:endParaRPr lang="pt-PT" sz="10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b="1" dirty="0" smtClean="0"/>
                        <a:t>980</a:t>
                      </a:r>
                      <a:endParaRPr lang="pt-PT" sz="10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b="1" dirty="0" smtClean="0"/>
                        <a:t>2.020</a:t>
                      </a:r>
                      <a:endParaRPr lang="pt-PT" sz="10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b="1" dirty="0" smtClean="0"/>
                        <a:t>1.248</a:t>
                      </a:r>
                      <a:endParaRPr lang="pt-PT" sz="10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b="1" dirty="0" smtClean="0">
                          <a:solidFill>
                            <a:schemeClr val="tx1"/>
                          </a:solidFill>
                        </a:rPr>
                        <a:t>2.220</a:t>
                      </a:r>
                      <a:endParaRPr lang="pt-PT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b="1" dirty="0" smtClean="0">
                          <a:solidFill>
                            <a:schemeClr val="tx1"/>
                          </a:solidFill>
                        </a:rPr>
                        <a:t>1.399</a:t>
                      </a:r>
                      <a:endParaRPr lang="pt-PT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b="1" dirty="0" smtClean="0"/>
                        <a:t>2.388</a:t>
                      </a:r>
                      <a:endParaRPr lang="pt-PT" sz="10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b="1" dirty="0" smtClean="0"/>
                        <a:t>1.445</a:t>
                      </a:r>
                      <a:endParaRPr lang="pt-PT" sz="1000" b="1" dirty="0"/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4" name="CaixaDeTexto 3"/>
          <p:cNvSpPr txBox="1"/>
          <p:nvPr/>
        </p:nvSpPr>
        <p:spPr>
          <a:xfrm>
            <a:off x="2710928" y="268941"/>
            <a:ext cx="4140877" cy="338554"/>
          </a:xfrm>
          <a:prstGeom prst="rect">
            <a:avLst/>
          </a:prstGeom>
          <a:ln w="9525"/>
        </p:spPr>
        <p:txBody>
          <a:bodyPr wrap="none" lIns="91440" tIns="45720" rIns="91440" bIns="4572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lang="pt-PT" sz="1600" b="1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cs typeface="+mn-cs"/>
              </a:rPr>
              <a:t>Pontas Máximas dos Sistemas Eléctricos</a:t>
            </a:r>
            <a:endParaRPr kumimoji="0" lang="pt-PT" sz="1600" b="1" i="0" u="none" strike="noStrike" kern="1200" cap="none" spc="0" normalizeH="0" baseline="0" noProof="0" dirty="0" smtClean="0">
              <a:ln>
                <a:noFill/>
              </a:ln>
              <a:solidFill>
                <a:schemeClr val="accent6">
                  <a:lumMod val="60000"/>
                  <a:lumOff val="4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aphicFrame>
        <p:nvGraphicFramePr>
          <p:cNvPr id="7" name="Gráfico 6"/>
          <p:cNvGraphicFramePr/>
          <p:nvPr>
            <p:extLst>
              <p:ext uri="{D42A27DB-BD31-4B8C-83A1-F6EECF244321}">
                <p14:modId xmlns:p14="http://schemas.microsoft.com/office/powerpoint/2010/main" val="2593983928"/>
              </p:ext>
            </p:extLst>
          </p:nvPr>
        </p:nvGraphicFramePr>
        <p:xfrm>
          <a:off x="638175" y="3803614"/>
          <a:ext cx="5781469" cy="29146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CaixaDeTexto 7"/>
          <p:cNvSpPr txBox="1"/>
          <p:nvPr/>
        </p:nvSpPr>
        <p:spPr>
          <a:xfrm>
            <a:off x="6419644" y="4878792"/>
            <a:ext cx="3213513" cy="646331"/>
          </a:xfrm>
          <a:prstGeom prst="rect">
            <a:avLst/>
          </a:prstGeom>
          <a:ln w="9525"/>
        </p:spPr>
        <p:txBody>
          <a:bodyPr wrap="square" lIns="91440" tIns="45720" rIns="91440" bIns="45720" rtlCol="0">
            <a:spAutoFit/>
          </a:bodyPr>
          <a:lstStyle/>
          <a:p>
            <a:pPr marL="0" marR="0" indent="0" algn="just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pt-PT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6">
                    <a:lumMod val="60000"/>
                    <a:lumOff val="4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 taxa de crescimento da Ponta Máxima entre 2012 e o 1º Semestre de 2015 foi de</a:t>
            </a:r>
            <a:r>
              <a:rPr kumimoji="0" lang="pt-PT" sz="1200" b="1" i="0" u="none" strike="noStrike" kern="1200" cap="none" spc="0" normalizeH="0" noProof="0" dirty="0" smtClean="0">
                <a:ln>
                  <a:noFill/>
                </a:ln>
                <a:solidFill>
                  <a:schemeClr val="accent6">
                    <a:lumMod val="60000"/>
                    <a:lumOff val="4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48%</a:t>
            </a:r>
            <a:endParaRPr kumimoji="0" lang="pt-PT" sz="1200" b="1" i="0" u="none" strike="noStrike" kern="1200" cap="none" spc="0" normalizeH="0" baseline="0" noProof="0" dirty="0" smtClean="0">
              <a:ln>
                <a:noFill/>
              </a:ln>
              <a:solidFill>
                <a:schemeClr val="accent6">
                  <a:lumMod val="60000"/>
                  <a:lumOff val="4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Rounded Rectangle 12"/>
          <p:cNvSpPr/>
          <p:nvPr/>
        </p:nvSpPr>
        <p:spPr>
          <a:xfrm>
            <a:off x="8171655" y="185816"/>
            <a:ext cx="1520984" cy="488797"/>
          </a:xfrm>
          <a:prstGeom prst="roundRect">
            <a:avLst/>
          </a:prstGeom>
          <a:solidFill>
            <a:schemeClr val="bg1">
              <a:lumMod val="85000"/>
              <a:alpha val="67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Ins="36000" rtlCol="0" anchor="ctr"/>
          <a:lstStyle/>
          <a:p>
            <a:pPr algn="ctr"/>
            <a:r>
              <a:rPr lang="pt-PT" sz="1600" b="1" dirty="0" smtClean="0">
                <a:solidFill>
                  <a:schemeClr val="tx1"/>
                </a:solidFill>
              </a:rPr>
              <a:t>Introdução</a:t>
            </a:r>
            <a:endParaRPr lang="pt-PT" sz="1600" b="1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4" name="Picture 2" descr="http://www.blue-sol.com/energia-solar/wp-content/uploads/2014/06/2564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239" y="2806"/>
            <a:ext cx="9901761" cy="6855193"/>
          </a:xfrm>
          <a:prstGeom prst="rect">
            <a:avLst/>
          </a:prstGeom>
          <a:noFill/>
        </p:spPr>
      </p:pic>
      <p:pic>
        <p:nvPicPr>
          <p:cNvPr id="5" name="Picture 1970" descr="C:\Users\patricia.m.loureiro\AppData\Local\Microsoft\Windows\Temporary Internet Files\Content.Outlook\YYF1YN1Y\insignia_large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3384" y="63053"/>
            <a:ext cx="780696" cy="770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>
          <a:xfrm>
            <a:off x="2104638" y="1011194"/>
            <a:ext cx="6019800" cy="1745670"/>
            <a:chOff x="3581400" y="2438400"/>
            <a:chExt cx="6019800" cy="2420476"/>
          </a:xfrm>
          <a:solidFill>
            <a:schemeClr val="bg1">
              <a:lumMod val="85000"/>
              <a:alpha val="67000"/>
            </a:schemeClr>
          </a:solidFill>
        </p:grpSpPr>
        <p:sp>
          <p:nvSpPr>
            <p:cNvPr id="7" name="Rounded Rectangle 11"/>
            <p:cNvSpPr/>
            <p:nvPr/>
          </p:nvSpPr>
          <p:spPr>
            <a:xfrm>
              <a:off x="3581400" y="2438400"/>
              <a:ext cx="625379" cy="677747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1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8" name="Rounded Rectangle 12"/>
            <p:cNvSpPr/>
            <p:nvPr/>
          </p:nvSpPr>
          <p:spPr>
            <a:xfrm>
              <a:off x="4379383" y="2438400"/>
              <a:ext cx="5221817" cy="677747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Introdução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9" name="Rounded Rectangle 18"/>
            <p:cNvSpPr/>
            <p:nvPr/>
          </p:nvSpPr>
          <p:spPr>
            <a:xfrm>
              <a:off x="3581400" y="3293621"/>
              <a:ext cx="625379" cy="672374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bg1"/>
                  </a:solidFill>
                </a:rPr>
                <a:t>2</a:t>
              </a:r>
              <a:endParaRPr lang="pt-PT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0" name="Rounded Rectangle 19"/>
            <p:cNvSpPr/>
            <p:nvPr/>
          </p:nvSpPr>
          <p:spPr>
            <a:xfrm>
              <a:off x="4379383" y="3293621"/>
              <a:ext cx="5221817" cy="672374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bg1"/>
                  </a:solidFill>
                </a:rPr>
                <a:t>Produção de Energia Eléctrica</a:t>
              </a:r>
              <a:endParaRPr lang="pt-PT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1" name="Rounded Rectangle 8"/>
            <p:cNvSpPr/>
            <p:nvPr/>
          </p:nvSpPr>
          <p:spPr>
            <a:xfrm>
              <a:off x="3581400" y="4202967"/>
              <a:ext cx="625379" cy="655909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3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2" name="Rounded Rectangle 9"/>
            <p:cNvSpPr/>
            <p:nvPr/>
          </p:nvSpPr>
          <p:spPr>
            <a:xfrm>
              <a:off x="4379383" y="4159935"/>
              <a:ext cx="5221817" cy="655909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Transporte de Energia Eléctrica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3" name="Group 24"/>
          <p:cNvGrpSpPr/>
          <p:nvPr/>
        </p:nvGrpSpPr>
        <p:grpSpPr>
          <a:xfrm>
            <a:off x="2104638" y="2873831"/>
            <a:ext cx="6019800" cy="471989"/>
            <a:chOff x="3600000" y="5715000"/>
            <a:chExt cx="6019800" cy="654441"/>
          </a:xfrm>
          <a:solidFill>
            <a:schemeClr val="bg1">
              <a:lumMod val="85000"/>
              <a:alpha val="67000"/>
            </a:schemeClr>
          </a:solidFill>
        </p:grpSpPr>
        <p:sp>
          <p:nvSpPr>
            <p:cNvPr id="14" name="Rounded Rectangle 25"/>
            <p:cNvSpPr/>
            <p:nvPr/>
          </p:nvSpPr>
          <p:spPr>
            <a:xfrm>
              <a:off x="3600000" y="5715000"/>
              <a:ext cx="625379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4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5" name="Rounded Rectangle 26"/>
            <p:cNvSpPr/>
            <p:nvPr/>
          </p:nvSpPr>
          <p:spPr>
            <a:xfrm>
              <a:off x="4397983" y="5715000"/>
              <a:ext cx="5221817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Distribuição de Energia Eléctrica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16" name="TextBox 1"/>
          <p:cNvSpPr txBox="1"/>
          <p:nvPr/>
        </p:nvSpPr>
        <p:spPr>
          <a:xfrm>
            <a:off x="1887258" y="424339"/>
            <a:ext cx="1664002" cy="425758"/>
          </a:xfrm>
          <a:prstGeom prst="rect">
            <a:avLst/>
          </a:prstGeom>
        </p:spPr>
        <p:txBody>
          <a:bodyPr wrap="square" lIns="0" anchor="b">
            <a:spAutoFit/>
          </a:bodyPr>
          <a:lstStyle>
            <a:lvl1pPr eaLnBrk="1" hangingPunct="1">
              <a:lnSpc>
                <a:spcPts val="2600"/>
              </a:lnSpc>
              <a:buFont typeface="Arial" charset="0"/>
              <a:defRPr sz="2000" b="1" spc="0" baseline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1pPr>
            <a:lvl2pPr eaLnBrk="1" hangingPunct="1">
              <a:lnSpc>
                <a:spcPts val="2600"/>
              </a:lnSpc>
              <a:buFont typeface="Arial" charset="0"/>
              <a:defRPr sz="2400"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eaLnBrk="1" hangingPunct="1">
              <a:lnSpc>
                <a:spcPts val="2600"/>
              </a:lnSpc>
              <a:buFont typeface="Arial" charset="0"/>
              <a:defRPr sz="2400"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eaLnBrk="1" hangingPunct="1">
              <a:lnSpc>
                <a:spcPts val="2600"/>
              </a:lnSpc>
              <a:buFont typeface="Arial" charset="0"/>
              <a:defRPr sz="2400"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eaLnBrk="1" hangingPunct="1">
              <a:lnSpc>
                <a:spcPts val="2600"/>
              </a:lnSpc>
              <a:buFont typeface="Arial" charset="0"/>
              <a:defRPr sz="2400"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pPr lvl="0" algn="ctr"/>
            <a:r>
              <a:rPr lang="en-US" sz="2400" baseline="0" dirty="0" smtClean="0">
                <a:solidFill>
                  <a:srgbClr val="FFCC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genda</a:t>
            </a:r>
            <a:endParaRPr lang="en-US" sz="2400" baseline="0" dirty="0">
              <a:solidFill>
                <a:srgbClr val="FFCC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4" name="Group 24"/>
          <p:cNvGrpSpPr/>
          <p:nvPr/>
        </p:nvGrpSpPr>
        <p:grpSpPr>
          <a:xfrm>
            <a:off x="2117184" y="4112151"/>
            <a:ext cx="6019800" cy="471989"/>
            <a:chOff x="3600000" y="5715000"/>
            <a:chExt cx="6019800" cy="654441"/>
          </a:xfrm>
          <a:solidFill>
            <a:schemeClr val="bg1">
              <a:lumMod val="85000"/>
              <a:alpha val="67000"/>
            </a:schemeClr>
          </a:solidFill>
        </p:grpSpPr>
        <p:sp>
          <p:nvSpPr>
            <p:cNvPr id="18" name="Rounded Rectangle 25"/>
            <p:cNvSpPr/>
            <p:nvPr/>
          </p:nvSpPr>
          <p:spPr>
            <a:xfrm>
              <a:off x="3600000" y="5715000"/>
              <a:ext cx="625379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6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9" name="Rounded Rectangle 26"/>
            <p:cNvSpPr/>
            <p:nvPr/>
          </p:nvSpPr>
          <p:spPr>
            <a:xfrm>
              <a:off x="4397983" y="5715000"/>
              <a:ext cx="5221817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Energias Renováveis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6" name="Group 24"/>
          <p:cNvGrpSpPr/>
          <p:nvPr/>
        </p:nvGrpSpPr>
        <p:grpSpPr>
          <a:xfrm>
            <a:off x="2138700" y="4734586"/>
            <a:ext cx="6019800" cy="471989"/>
            <a:chOff x="3600000" y="5715000"/>
            <a:chExt cx="6019800" cy="654441"/>
          </a:xfrm>
          <a:solidFill>
            <a:schemeClr val="bg1">
              <a:lumMod val="85000"/>
              <a:alpha val="67000"/>
            </a:schemeClr>
          </a:solidFill>
        </p:grpSpPr>
        <p:sp>
          <p:nvSpPr>
            <p:cNvPr id="21" name="Rounded Rectangle 25"/>
            <p:cNvSpPr/>
            <p:nvPr/>
          </p:nvSpPr>
          <p:spPr>
            <a:xfrm>
              <a:off x="3600000" y="5715000"/>
              <a:ext cx="625379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7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22" name="Rounded Rectangle 26"/>
            <p:cNvSpPr/>
            <p:nvPr/>
          </p:nvSpPr>
          <p:spPr>
            <a:xfrm>
              <a:off x="4397983" y="5715000"/>
              <a:ext cx="5221817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Electrificação Rural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3" name="Group 24"/>
          <p:cNvGrpSpPr/>
          <p:nvPr/>
        </p:nvGrpSpPr>
        <p:grpSpPr>
          <a:xfrm>
            <a:off x="2151246" y="5335059"/>
            <a:ext cx="6019800" cy="471989"/>
            <a:chOff x="3600000" y="5715000"/>
            <a:chExt cx="6019800" cy="654441"/>
          </a:xfrm>
          <a:solidFill>
            <a:schemeClr val="bg1">
              <a:lumMod val="85000"/>
              <a:alpha val="67000"/>
            </a:schemeClr>
          </a:solidFill>
        </p:grpSpPr>
        <p:sp>
          <p:nvSpPr>
            <p:cNvPr id="24" name="Rounded Rectangle 25"/>
            <p:cNvSpPr/>
            <p:nvPr/>
          </p:nvSpPr>
          <p:spPr>
            <a:xfrm>
              <a:off x="3600000" y="5715000"/>
              <a:ext cx="625379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8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25" name="Rounded Rectangle 26"/>
            <p:cNvSpPr/>
            <p:nvPr/>
          </p:nvSpPr>
          <p:spPr>
            <a:xfrm>
              <a:off x="4397983" y="5715000"/>
              <a:ext cx="5221817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Licenciamento e Fiscalização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7" name="Group 24"/>
          <p:cNvGrpSpPr/>
          <p:nvPr/>
        </p:nvGrpSpPr>
        <p:grpSpPr>
          <a:xfrm>
            <a:off x="2102663" y="3489356"/>
            <a:ext cx="6019800" cy="471989"/>
            <a:chOff x="3600000" y="5715000"/>
            <a:chExt cx="6019800" cy="654441"/>
          </a:xfrm>
          <a:solidFill>
            <a:schemeClr val="bg1">
              <a:lumMod val="85000"/>
              <a:alpha val="67000"/>
            </a:schemeClr>
          </a:solidFill>
        </p:grpSpPr>
        <p:sp>
          <p:nvSpPr>
            <p:cNvPr id="27" name="Rounded Rectangle 25"/>
            <p:cNvSpPr/>
            <p:nvPr/>
          </p:nvSpPr>
          <p:spPr>
            <a:xfrm>
              <a:off x="3600000" y="5715000"/>
              <a:ext cx="625379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pt-PT" sz="1600" b="1" dirty="0" smtClean="0">
                  <a:solidFill>
                    <a:schemeClr val="tx1"/>
                  </a:solidFill>
                </a:rPr>
                <a:t>5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28" name="Rounded Rectangle 26"/>
            <p:cNvSpPr/>
            <p:nvPr/>
          </p:nvSpPr>
          <p:spPr>
            <a:xfrm>
              <a:off x="4397983" y="5715000"/>
              <a:ext cx="5221817" cy="654441"/>
            </a:xfrm>
            <a:prstGeom prst="round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rIns="36000" rtlCol="0" anchor="ctr"/>
            <a:lstStyle/>
            <a:p>
              <a:r>
                <a:rPr lang="pt-PT" sz="1600" b="1" dirty="0" smtClean="0">
                  <a:solidFill>
                    <a:schemeClr val="tx1"/>
                  </a:solidFill>
                </a:rPr>
                <a:t>Projectos Estruturantes</a:t>
              </a:r>
              <a:endParaRPr lang="pt-PT" sz="1600" b="1" dirty="0">
                <a:solidFill>
                  <a:schemeClr val="tx1"/>
                </a:solidFill>
              </a:endParaRPr>
            </a:p>
          </p:txBody>
        </p:sp>
      </p:grp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8365567"/>
              </p:ext>
            </p:extLst>
          </p:nvPr>
        </p:nvGraphicFramePr>
        <p:xfrm>
          <a:off x="434834" y="1324488"/>
          <a:ext cx="4121486" cy="2129911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926743"/>
                <a:gridCol w="926743"/>
                <a:gridCol w="756000"/>
                <a:gridCol w="756000"/>
                <a:gridCol w="756000"/>
              </a:tblGrid>
              <a:tr h="469587">
                <a:tc rowSpan="5">
                  <a:txBody>
                    <a:bodyPr/>
                    <a:lstStyle/>
                    <a:p>
                      <a:pPr algn="ctr"/>
                      <a:r>
                        <a:rPr lang="pt-PT" sz="1200" dirty="0" smtClean="0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</a:rPr>
                        <a:t>Produção </a:t>
                      </a:r>
                      <a:r>
                        <a:rPr lang="pt-PT" sz="1200" dirty="0" err="1" smtClean="0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</a:rPr>
                        <a:t>Hidrotérmica</a:t>
                      </a:r>
                      <a:endParaRPr lang="pt-PT" sz="1200" dirty="0"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</a:endParaRPr>
                    </a:p>
                  </a:txBody>
                  <a:tcPr vert="vert27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100" dirty="0" smtClean="0"/>
                        <a:t>Ano</a:t>
                      </a:r>
                      <a:endParaRPr lang="pt-PT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100" dirty="0" smtClean="0"/>
                        <a:t>Hídrica (MW)</a:t>
                      </a:r>
                      <a:endParaRPr lang="pt-PT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100" dirty="0" smtClean="0"/>
                        <a:t>Térmica (MW)</a:t>
                      </a:r>
                      <a:endParaRPr lang="pt-PT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100" dirty="0" smtClean="0"/>
                        <a:t>Total (MW)</a:t>
                      </a:r>
                      <a:endParaRPr lang="pt-PT" sz="1100" dirty="0"/>
                    </a:p>
                  </a:txBody>
                  <a:tcPr anchor="ctr"/>
                </a:tc>
              </a:tr>
              <a:tr h="408093">
                <a:tc vMerge="1">
                  <a:txBody>
                    <a:bodyPr/>
                    <a:lstStyle/>
                    <a:p>
                      <a:pPr algn="ctr"/>
                      <a:endParaRPr lang="pt-PT" sz="10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b="1" dirty="0" smtClean="0"/>
                        <a:t>2012</a:t>
                      </a:r>
                      <a:endParaRPr lang="pt-PT" sz="10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866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897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1.763</a:t>
                      </a:r>
                      <a:endParaRPr lang="pt-PT" sz="1000" dirty="0"/>
                    </a:p>
                  </a:txBody>
                  <a:tcPr anchor="ctr"/>
                </a:tc>
              </a:tr>
              <a:tr h="408093">
                <a:tc vMerge="1">
                  <a:txBody>
                    <a:bodyPr/>
                    <a:lstStyle/>
                    <a:p>
                      <a:pPr algn="ctr"/>
                      <a:endParaRPr lang="pt-PT" sz="10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b="1" dirty="0" smtClean="0"/>
                        <a:t>2013</a:t>
                      </a:r>
                      <a:endParaRPr lang="pt-PT" sz="10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946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1.074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2.020</a:t>
                      </a:r>
                      <a:endParaRPr lang="pt-PT" sz="1000" dirty="0"/>
                    </a:p>
                  </a:txBody>
                  <a:tcPr anchor="ctr"/>
                </a:tc>
              </a:tr>
              <a:tr h="408093">
                <a:tc vMerge="1">
                  <a:txBody>
                    <a:bodyPr/>
                    <a:lstStyle/>
                    <a:p>
                      <a:pPr algn="ctr"/>
                      <a:endParaRPr lang="pt-PT" sz="10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b="1" dirty="0" smtClean="0"/>
                        <a:t>2014</a:t>
                      </a:r>
                      <a:endParaRPr lang="pt-PT" sz="10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938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1.282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2.220</a:t>
                      </a:r>
                      <a:endParaRPr lang="pt-PT" sz="1000" dirty="0"/>
                    </a:p>
                  </a:txBody>
                  <a:tcPr anchor="ctr"/>
                </a:tc>
              </a:tr>
              <a:tr h="436045">
                <a:tc vMerge="1">
                  <a:txBody>
                    <a:bodyPr/>
                    <a:lstStyle/>
                    <a:p>
                      <a:pPr algn="ctr"/>
                      <a:endParaRPr lang="pt-PT" sz="10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b="1" dirty="0" smtClean="0"/>
                        <a:t>2015 (1ºSem)</a:t>
                      </a:r>
                      <a:endParaRPr lang="pt-PT" sz="10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996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1.392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2.388</a:t>
                      </a:r>
                      <a:endParaRPr lang="pt-PT" sz="1000" dirty="0"/>
                    </a:p>
                  </a:txBody>
                  <a:tcPr anchor="ctr"/>
                </a:tc>
              </a:tr>
            </a:tbl>
          </a:graphicData>
        </a:graphic>
      </p:graphicFrame>
      <p:graphicFrame>
        <p:nvGraphicFramePr>
          <p:cNvPr id="5" name="Gráfico 4"/>
          <p:cNvGraphicFramePr/>
          <p:nvPr>
            <p:extLst>
              <p:ext uri="{D42A27DB-BD31-4B8C-83A1-F6EECF244321}">
                <p14:modId xmlns:p14="http://schemas.microsoft.com/office/powerpoint/2010/main" val="1075336527"/>
              </p:ext>
            </p:extLst>
          </p:nvPr>
        </p:nvGraphicFramePr>
        <p:xfrm>
          <a:off x="5022924" y="1227666"/>
          <a:ext cx="4375076" cy="25918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CaixaDeTexto 5"/>
          <p:cNvSpPr txBox="1"/>
          <p:nvPr/>
        </p:nvSpPr>
        <p:spPr>
          <a:xfrm>
            <a:off x="2626114" y="268941"/>
            <a:ext cx="2173993" cy="338554"/>
          </a:xfrm>
          <a:prstGeom prst="rect">
            <a:avLst/>
          </a:prstGeom>
          <a:ln w="9525"/>
        </p:spPr>
        <p:txBody>
          <a:bodyPr wrap="none" lIns="91440" tIns="45720" rIns="91440" bIns="4572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lang="pt-PT" sz="1600" b="1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cs typeface="+mn-cs"/>
              </a:rPr>
              <a:t>Fontes de Produção</a:t>
            </a:r>
            <a:endParaRPr kumimoji="0" lang="pt-PT" sz="1600" b="1" i="0" u="none" strike="noStrike" kern="1200" cap="none" spc="0" normalizeH="0" baseline="0" noProof="0" dirty="0" smtClean="0">
              <a:ln>
                <a:noFill/>
              </a:ln>
              <a:solidFill>
                <a:schemeClr val="accent6">
                  <a:lumMod val="60000"/>
                  <a:lumOff val="4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aphicFrame>
        <p:nvGraphicFramePr>
          <p:cNvPr id="8" name="Gráfico 7"/>
          <p:cNvGraphicFramePr/>
          <p:nvPr>
            <p:extLst>
              <p:ext uri="{D42A27DB-BD31-4B8C-83A1-F6EECF244321}">
                <p14:modId xmlns:p14="http://schemas.microsoft.com/office/powerpoint/2010/main" val="2460766679"/>
              </p:ext>
            </p:extLst>
          </p:nvPr>
        </p:nvGraphicFramePr>
        <p:xfrm>
          <a:off x="2626114" y="3819525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Rounded Rectangle 19"/>
          <p:cNvSpPr/>
          <p:nvPr/>
        </p:nvSpPr>
        <p:spPr>
          <a:xfrm>
            <a:off x="6500841" y="170073"/>
            <a:ext cx="3308174" cy="484922"/>
          </a:xfrm>
          <a:prstGeom prst="roundRect">
            <a:avLst/>
          </a:prstGeom>
          <a:solidFill>
            <a:schemeClr val="bg1">
              <a:lumMod val="85000"/>
              <a:alpha val="67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Ins="36000" rtlCol="0" anchor="ctr"/>
          <a:lstStyle/>
          <a:p>
            <a:r>
              <a:rPr lang="pt-PT" sz="1600" b="1" dirty="0" smtClean="0">
                <a:solidFill>
                  <a:schemeClr val="tx1"/>
                </a:solidFill>
              </a:rPr>
              <a:t>Produção de Energia Eléctrica</a:t>
            </a:r>
            <a:endParaRPr lang="pt-PT" sz="1600" b="1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ângulo arredondado 8"/>
          <p:cNvSpPr/>
          <p:nvPr/>
        </p:nvSpPr>
        <p:spPr bwMode="gray">
          <a:xfrm>
            <a:off x="1410050" y="3533775"/>
            <a:ext cx="1047400" cy="300333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88900" indent="-88900" algn="just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</a:pPr>
            <a:endParaRPr lang="pt-PT" sz="1000" kern="0" dirty="0" smtClean="0">
              <a:solidFill>
                <a:sysClr val="windowText" lastClr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8" name="Rectângulo arredondado 7"/>
          <p:cNvSpPr/>
          <p:nvPr/>
        </p:nvSpPr>
        <p:spPr bwMode="gray">
          <a:xfrm>
            <a:off x="1410050" y="1009649"/>
            <a:ext cx="1047400" cy="233452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88900" indent="-88900" algn="just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</a:pPr>
            <a:endParaRPr lang="pt-PT" sz="1000" kern="0" dirty="0" smtClean="0">
              <a:solidFill>
                <a:sysClr val="windowText" lastClr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2306634" y="268941"/>
            <a:ext cx="3478837" cy="338554"/>
          </a:xfrm>
          <a:prstGeom prst="rect">
            <a:avLst/>
          </a:prstGeom>
          <a:ln w="9525"/>
        </p:spPr>
        <p:txBody>
          <a:bodyPr wrap="none" lIns="91440" tIns="45720" rIns="91440" bIns="4572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lang="pt-PT" sz="1600" b="1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cs typeface="+mn-cs"/>
              </a:rPr>
              <a:t>Projectos Concluídos e em Curso</a:t>
            </a:r>
            <a:endParaRPr kumimoji="0" lang="pt-PT" sz="1600" b="1" i="0" u="none" strike="noStrike" kern="1200" cap="none" spc="0" normalizeH="0" baseline="0" noProof="0" dirty="0" smtClean="0">
              <a:ln>
                <a:noFill/>
              </a:ln>
              <a:solidFill>
                <a:schemeClr val="accent6">
                  <a:lumMod val="60000"/>
                  <a:lumOff val="4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aphicFrame>
        <p:nvGraphicFramePr>
          <p:cNvPr id="4" name="Tabela 3"/>
          <p:cNvGraphicFramePr>
            <a:graphicFrameLocks noGrp="1"/>
          </p:cNvGraphicFramePr>
          <p:nvPr/>
        </p:nvGraphicFramePr>
        <p:xfrm>
          <a:off x="2596354" y="981075"/>
          <a:ext cx="5337971" cy="236310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4259318"/>
                <a:gridCol w="1078653"/>
              </a:tblGrid>
              <a:tr h="419100"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Projecto</a:t>
                      </a:r>
                      <a:endParaRPr lang="pt-PT" sz="1000" dirty="0"/>
                    </a:p>
                  </a:txBody>
                  <a:tcPr anchor="ctr">
                    <a:solidFill>
                      <a:schemeClr val="accent4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Ano</a:t>
                      </a:r>
                      <a:endParaRPr lang="pt-PT" sz="1000" dirty="0"/>
                    </a:p>
                  </a:txBody>
                  <a:tcPr anchor="ctr">
                    <a:solidFill>
                      <a:schemeClr val="accent4">
                        <a:lumMod val="50000"/>
                      </a:schemeClr>
                    </a:solidFill>
                  </a:tcPr>
                </a:tc>
              </a:tr>
              <a:tr h="324000">
                <a:tc>
                  <a:txBody>
                    <a:bodyPr/>
                    <a:lstStyle/>
                    <a:p>
                      <a:r>
                        <a:rPr lang="pt-PT" sz="1000" dirty="0" smtClean="0"/>
                        <a:t>Reabilitação</a:t>
                      </a:r>
                      <a:r>
                        <a:rPr lang="pt-PT" sz="1000" baseline="0" dirty="0" smtClean="0"/>
                        <a:t> da AH </a:t>
                      </a:r>
                      <a:r>
                        <a:rPr lang="pt-PT" sz="1000" baseline="0" dirty="0" err="1" smtClean="0"/>
                        <a:t>Mabubas</a:t>
                      </a:r>
                      <a:r>
                        <a:rPr lang="pt-PT" sz="1000" baseline="0" dirty="0" smtClean="0"/>
                        <a:t> (25,4MW)</a:t>
                      </a:r>
                      <a:endParaRPr lang="pt-PT" sz="1000" dirty="0"/>
                    </a:p>
                  </a:txBody>
                  <a:tcPr anchor="ctr">
                    <a:solidFill>
                      <a:srgbClr val="CCFFCC"/>
                    </a:solidFill>
                  </a:tcPr>
                </a:tc>
                <a:tc rowSpan="5">
                  <a:txBody>
                    <a:bodyPr/>
                    <a:lstStyle/>
                    <a:p>
                      <a:pPr algn="ctr"/>
                      <a:r>
                        <a:rPr lang="pt-PT" sz="1000" b="1" dirty="0" smtClean="0"/>
                        <a:t>2012</a:t>
                      </a:r>
                      <a:endParaRPr lang="pt-PT" sz="1000" b="1" dirty="0"/>
                    </a:p>
                  </a:txBody>
                  <a:tcPr anchor="ctr">
                    <a:solidFill>
                      <a:srgbClr val="CCFFCC"/>
                    </a:solidFill>
                  </a:tcPr>
                </a:tc>
              </a:tr>
              <a:tr h="324000">
                <a:tc>
                  <a:txBody>
                    <a:bodyPr/>
                    <a:lstStyle/>
                    <a:p>
                      <a:r>
                        <a:rPr lang="pt-PT" sz="1000" dirty="0" smtClean="0"/>
                        <a:t>Reabilitação e ampliação do AH</a:t>
                      </a:r>
                      <a:r>
                        <a:rPr lang="pt-PT" sz="1000" baseline="0" dirty="0" smtClean="0"/>
                        <a:t> </a:t>
                      </a:r>
                      <a:r>
                        <a:rPr lang="pt-PT" sz="1000" baseline="0" dirty="0" err="1" smtClean="0"/>
                        <a:t>Lomaúm</a:t>
                      </a:r>
                      <a:r>
                        <a:rPr lang="pt-PT" sz="1000" baseline="0" dirty="0" smtClean="0"/>
                        <a:t> (50MW)</a:t>
                      </a:r>
                      <a:endParaRPr lang="pt-PT" sz="1000" dirty="0"/>
                    </a:p>
                  </a:txBody>
                  <a:tcPr anchor="ctr">
                    <a:solidFill>
                      <a:srgbClr val="CCFFCC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pt-PT" sz="1100" b="1" dirty="0"/>
                    </a:p>
                  </a:txBody>
                  <a:tcPr anchor="ctr"/>
                </a:tc>
              </a:tr>
              <a:tr h="324000">
                <a:tc>
                  <a:txBody>
                    <a:bodyPr/>
                    <a:lstStyle/>
                    <a:p>
                      <a:r>
                        <a:rPr lang="pt-PT" sz="1000" dirty="0" smtClean="0"/>
                        <a:t>Reabilitação da CH </a:t>
                      </a:r>
                      <a:r>
                        <a:rPr lang="pt-PT" sz="1000" dirty="0" err="1" smtClean="0"/>
                        <a:t>Gove</a:t>
                      </a:r>
                      <a:r>
                        <a:rPr lang="pt-PT" sz="1000" dirty="0" smtClean="0"/>
                        <a:t> (60MW)</a:t>
                      </a:r>
                      <a:endParaRPr lang="pt-PT" sz="1000" dirty="0"/>
                    </a:p>
                  </a:txBody>
                  <a:tcPr anchor="ctr">
                    <a:solidFill>
                      <a:srgbClr val="CCFFCC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pt-PT" sz="1100" b="1" dirty="0"/>
                    </a:p>
                  </a:txBody>
                  <a:tcPr anchor="ctr"/>
                </a:tc>
              </a:tr>
              <a:tr h="324000">
                <a:tc>
                  <a:txBody>
                    <a:bodyPr/>
                    <a:lstStyle/>
                    <a:p>
                      <a:r>
                        <a:rPr lang="pt-PT" sz="1000" dirty="0" smtClean="0"/>
                        <a:t>Reabilitação do AH </a:t>
                      </a:r>
                      <a:r>
                        <a:rPr lang="pt-PT" sz="1000" dirty="0" err="1" smtClean="0"/>
                        <a:t>Biópio</a:t>
                      </a:r>
                      <a:r>
                        <a:rPr lang="pt-PT" sz="1000" dirty="0" smtClean="0"/>
                        <a:t> (14,4M)</a:t>
                      </a:r>
                      <a:endParaRPr lang="pt-PT" sz="1000" dirty="0"/>
                    </a:p>
                  </a:txBody>
                  <a:tcPr anchor="ctr">
                    <a:solidFill>
                      <a:srgbClr val="CCFFCC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pt-PT" sz="1100" b="1" dirty="0"/>
                    </a:p>
                  </a:txBody>
                  <a:tcPr anchor="ctr"/>
                </a:tc>
              </a:tr>
              <a:tr h="324000">
                <a:tc>
                  <a:txBody>
                    <a:bodyPr/>
                    <a:lstStyle/>
                    <a:p>
                      <a:r>
                        <a:rPr lang="pt-PT" sz="1000" dirty="0" smtClean="0"/>
                        <a:t>Reabilitação e Modernização CH </a:t>
                      </a:r>
                      <a:r>
                        <a:rPr lang="pt-PT" sz="1000" dirty="0" err="1" smtClean="0"/>
                        <a:t>Cambambe</a:t>
                      </a:r>
                      <a:r>
                        <a:rPr lang="pt-PT" sz="1000" dirty="0" smtClean="0"/>
                        <a:t> (192MW)</a:t>
                      </a:r>
                      <a:endParaRPr lang="pt-PT" sz="1000" dirty="0"/>
                    </a:p>
                  </a:txBody>
                  <a:tcPr anchor="ctr">
                    <a:solidFill>
                      <a:srgbClr val="CCFFCC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pt-PT" sz="1000" b="1" dirty="0"/>
                    </a:p>
                  </a:txBody>
                  <a:tcPr anchor="ctr"/>
                </a:tc>
              </a:tr>
              <a:tr h="324000">
                <a:tc>
                  <a:txBody>
                    <a:bodyPr/>
                    <a:lstStyle/>
                    <a:p>
                      <a:r>
                        <a:rPr lang="pt-PT" sz="1000" dirty="0" smtClean="0"/>
                        <a:t>AH </a:t>
                      </a:r>
                      <a:r>
                        <a:rPr lang="pt-PT" sz="1000" dirty="0" err="1" smtClean="0"/>
                        <a:t>Laúca</a:t>
                      </a:r>
                      <a:r>
                        <a:rPr lang="pt-PT" sz="1000" dirty="0" smtClean="0"/>
                        <a:t> - Desvio do Rio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b="1" dirty="0" smtClean="0"/>
                        <a:t>2014</a:t>
                      </a:r>
                      <a:endParaRPr lang="pt-PT" sz="1000" b="1" dirty="0"/>
                    </a:p>
                  </a:txBody>
                  <a:tcPr anchor="ctr"/>
                </a:tc>
              </a:tr>
            </a:tbl>
          </a:graphicData>
        </a:graphic>
      </p:graphicFrame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3738614"/>
              </p:ext>
            </p:extLst>
          </p:nvPr>
        </p:nvGraphicFramePr>
        <p:xfrm>
          <a:off x="2596354" y="3476625"/>
          <a:ext cx="5337971" cy="306048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4279369"/>
                <a:gridCol w="1058602"/>
              </a:tblGrid>
              <a:tr h="371475"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Projecto</a:t>
                      </a:r>
                      <a:endParaRPr lang="pt-PT" sz="1000" dirty="0"/>
                    </a:p>
                  </a:txBody>
                  <a:tcPr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dirty="0" smtClean="0"/>
                        <a:t>Ano previsto conclusão</a:t>
                      </a:r>
                      <a:endParaRPr lang="pt-PT" sz="1000" dirty="0"/>
                    </a:p>
                  </a:txBody>
                  <a:tcPr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4000">
                <a:tc>
                  <a:txBody>
                    <a:bodyPr/>
                    <a:lstStyle/>
                    <a:p>
                      <a:r>
                        <a:rPr lang="pt-PT" sz="1000" dirty="0" smtClean="0"/>
                        <a:t>Reabilitação</a:t>
                      </a:r>
                      <a:r>
                        <a:rPr lang="pt-PT" sz="1000" baseline="0" dirty="0" smtClean="0"/>
                        <a:t> da CH </a:t>
                      </a:r>
                      <a:r>
                        <a:rPr lang="pt-PT" sz="1000" baseline="0" dirty="0" err="1" smtClean="0"/>
                        <a:t>Matala</a:t>
                      </a:r>
                      <a:r>
                        <a:rPr lang="pt-PT" sz="1000" baseline="0" dirty="0" smtClean="0"/>
                        <a:t> (40MW)</a:t>
                      </a:r>
                      <a:endParaRPr lang="pt-PT" sz="1000" dirty="0"/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b="1" dirty="0" smtClean="0"/>
                        <a:t>2015</a:t>
                      </a:r>
                      <a:endParaRPr lang="pt-PT" sz="1000" b="1" dirty="0"/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324000">
                <a:tc>
                  <a:txBody>
                    <a:bodyPr/>
                    <a:lstStyle/>
                    <a:p>
                      <a:r>
                        <a:rPr lang="pt-PT" sz="1000" dirty="0" smtClean="0"/>
                        <a:t>Reabilitação</a:t>
                      </a:r>
                      <a:r>
                        <a:rPr lang="pt-PT" sz="1000" baseline="0" dirty="0" smtClean="0"/>
                        <a:t> do </a:t>
                      </a:r>
                      <a:r>
                        <a:rPr lang="pt-PT" sz="1000" dirty="0" smtClean="0"/>
                        <a:t>AH </a:t>
                      </a:r>
                      <a:r>
                        <a:rPr lang="pt-PT" sz="1000" dirty="0" err="1" smtClean="0"/>
                        <a:t>Luquixe</a:t>
                      </a:r>
                      <a:r>
                        <a:rPr lang="pt-PT" sz="1000" baseline="0" dirty="0" smtClean="0"/>
                        <a:t> I (0,9MW)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b="1" dirty="0" smtClean="0"/>
                        <a:t>2015</a:t>
                      </a:r>
                      <a:endParaRPr lang="pt-PT" sz="1000" b="1" dirty="0"/>
                    </a:p>
                  </a:txBody>
                  <a:tcPr anchor="ctr"/>
                </a:tc>
              </a:tr>
              <a:tr h="324000">
                <a:tc>
                  <a:txBody>
                    <a:bodyPr/>
                    <a:lstStyle/>
                    <a:p>
                      <a:r>
                        <a:rPr lang="pt-PT" sz="10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teamento e instalação da Segunda Central de </a:t>
                      </a:r>
                      <a:r>
                        <a:rPr lang="pt-PT" sz="10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mbambe</a:t>
                      </a:r>
                      <a:r>
                        <a:rPr lang="pt-PT" sz="10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80MW + 700 MW)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b="1" dirty="0" smtClean="0">
                          <a:solidFill>
                            <a:schemeClr val="tx1"/>
                          </a:solidFill>
                        </a:rPr>
                        <a:t>2016</a:t>
                      </a:r>
                      <a:endParaRPr lang="pt-PT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  <a:tr h="324000">
                <a:tc>
                  <a:txBody>
                    <a:bodyPr/>
                    <a:lstStyle/>
                    <a:p>
                      <a:r>
                        <a:rPr lang="pt-PT" sz="10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.H. de </a:t>
                      </a:r>
                      <a:r>
                        <a:rPr lang="pt-PT" sz="10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aúca</a:t>
                      </a:r>
                      <a:r>
                        <a:rPr lang="pt-PT" sz="10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– 2004MW + 67 MW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b="1" dirty="0" smtClean="0">
                          <a:solidFill>
                            <a:schemeClr val="tx1"/>
                          </a:solidFill>
                        </a:rPr>
                        <a:t>2017</a:t>
                      </a:r>
                      <a:endParaRPr lang="pt-PT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  <a:tr h="324000">
                <a:tc>
                  <a:txBody>
                    <a:bodyPr/>
                    <a:lstStyle/>
                    <a:p>
                      <a:r>
                        <a:rPr lang="pt-PT" sz="10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.H. de </a:t>
                      </a:r>
                      <a:r>
                        <a:rPr lang="pt-PT" sz="10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uachimo</a:t>
                      </a:r>
                      <a:r>
                        <a:rPr lang="pt-PT" sz="10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– 34 MW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b="1" dirty="0" smtClean="0">
                          <a:solidFill>
                            <a:schemeClr val="tx1"/>
                          </a:solidFill>
                        </a:rPr>
                        <a:t>2018</a:t>
                      </a:r>
                      <a:endParaRPr lang="pt-PT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  <a:tr h="324000">
                <a:tc>
                  <a:txBody>
                    <a:bodyPr/>
                    <a:lstStyle/>
                    <a:p>
                      <a:r>
                        <a:rPr lang="en-US" sz="10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.H. </a:t>
                      </a:r>
                      <a:r>
                        <a:rPr lang="en-US" sz="10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iumbe</a:t>
                      </a:r>
                      <a:r>
                        <a:rPr lang="en-US" sz="10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la</a:t>
                      </a:r>
                      <a:r>
                        <a:rPr lang="en-US" sz="10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-  12 MW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b="1" dirty="0" smtClean="0">
                          <a:solidFill>
                            <a:schemeClr val="tx1"/>
                          </a:solidFill>
                        </a:rPr>
                        <a:t>2016</a:t>
                      </a:r>
                      <a:endParaRPr lang="pt-PT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  <a:tr h="324000">
                <a:tc>
                  <a:txBody>
                    <a:bodyPr/>
                    <a:lstStyle/>
                    <a:p>
                      <a:r>
                        <a:rPr lang="en-US" sz="10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.H. </a:t>
                      </a:r>
                      <a:r>
                        <a:rPr lang="en-US" sz="10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unje</a:t>
                      </a:r>
                      <a:r>
                        <a:rPr lang="en-US" sz="10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-  1,5 MW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b="1" dirty="0" smtClean="0"/>
                        <a:t>2017</a:t>
                      </a:r>
                      <a:endParaRPr lang="pt-PT" sz="1000" b="1" dirty="0"/>
                    </a:p>
                  </a:txBody>
                  <a:tcPr anchor="ctr"/>
                </a:tc>
              </a:tr>
              <a:tr h="324000">
                <a:tc>
                  <a:txBody>
                    <a:bodyPr/>
                    <a:lstStyle/>
                    <a:p>
                      <a:r>
                        <a:rPr lang="pt-PT" sz="1000" dirty="0" smtClean="0"/>
                        <a:t>CT </a:t>
                      </a:r>
                      <a:r>
                        <a:rPr lang="pt-PT" sz="1000" dirty="0" err="1" smtClean="0"/>
                        <a:t>Soyo</a:t>
                      </a:r>
                      <a:r>
                        <a:rPr lang="pt-PT" sz="1000" dirty="0" smtClean="0"/>
                        <a:t> I</a:t>
                      </a:r>
                      <a:r>
                        <a:rPr lang="pt-PT" sz="1000" baseline="0" dirty="0" smtClean="0"/>
                        <a:t> (500MW + 250MW)</a:t>
                      </a:r>
                      <a:endParaRPr lang="pt-P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PT" sz="1000" b="1" dirty="0" smtClean="0"/>
                        <a:t>2017 - 2018</a:t>
                      </a:r>
                      <a:endParaRPr lang="pt-PT" sz="1000" b="1" dirty="0"/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6" name="CaixaDeTexto 5"/>
          <p:cNvSpPr txBox="1"/>
          <p:nvPr/>
        </p:nvSpPr>
        <p:spPr>
          <a:xfrm>
            <a:off x="1410050" y="2061326"/>
            <a:ext cx="1026243" cy="276999"/>
          </a:xfrm>
          <a:prstGeom prst="rect">
            <a:avLst/>
          </a:prstGeom>
          <a:ln w="9525"/>
        </p:spPr>
        <p:txBody>
          <a:bodyPr wrap="none" lIns="91440" tIns="45720" rIns="91440" bIns="4572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lang="pt-PT" sz="1200" b="1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cs typeface="+mn-cs"/>
              </a:rPr>
              <a:t>Concluídos</a:t>
            </a:r>
            <a:endParaRPr kumimoji="0" lang="pt-PT" sz="1200" b="1" i="0" u="none" strike="noStrike" kern="1200" cap="none" spc="0" normalizeH="0" baseline="0" noProof="0" dirty="0" smtClean="0">
              <a:ln>
                <a:noFill/>
              </a:ln>
              <a:solidFill>
                <a:schemeClr val="accent6">
                  <a:lumMod val="60000"/>
                  <a:lumOff val="4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CaixaDeTexto 6"/>
          <p:cNvSpPr txBox="1"/>
          <p:nvPr/>
        </p:nvSpPr>
        <p:spPr>
          <a:xfrm>
            <a:off x="1486250" y="4852600"/>
            <a:ext cx="878767" cy="276999"/>
          </a:xfrm>
          <a:prstGeom prst="rect">
            <a:avLst/>
          </a:prstGeom>
          <a:ln w="9525"/>
        </p:spPr>
        <p:txBody>
          <a:bodyPr wrap="none" lIns="91440" tIns="45720" rIns="91440" bIns="4572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lang="pt-PT" sz="1200" b="1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cs typeface="+mn-cs"/>
              </a:rPr>
              <a:t>Em Curso</a:t>
            </a:r>
            <a:endParaRPr kumimoji="0" lang="pt-PT" sz="1200" b="1" i="0" u="none" strike="noStrike" kern="1200" cap="none" spc="0" normalizeH="0" baseline="0" noProof="0" dirty="0" smtClean="0">
              <a:ln>
                <a:noFill/>
              </a:ln>
              <a:solidFill>
                <a:schemeClr val="accent6">
                  <a:lumMod val="60000"/>
                  <a:lumOff val="4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Rounded Rectangle 19"/>
          <p:cNvSpPr/>
          <p:nvPr/>
        </p:nvSpPr>
        <p:spPr>
          <a:xfrm>
            <a:off x="6500841" y="170073"/>
            <a:ext cx="3308174" cy="484922"/>
          </a:xfrm>
          <a:prstGeom prst="roundRect">
            <a:avLst/>
          </a:prstGeom>
          <a:solidFill>
            <a:schemeClr val="bg1">
              <a:lumMod val="85000"/>
              <a:alpha val="67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Ins="36000" rtlCol="0" anchor="ctr"/>
          <a:lstStyle/>
          <a:p>
            <a:r>
              <a:rPr lang="pt-PT" sz="1600" b="1" dirty="0" smtClean="0">
                <a:solidFill>
                  <a:schemeClr val="tx1"/>
                </a:solidFill>
              </a:rPr>
              <a:t>Produção de Energia Eléctrica</a:t>
            </a:r>
            <a:endParaRPr lang="pt-PT" sz="1600" b="1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355"/>
  <p:tag name="PAGENUMBER" val="1"/>
  <p:tag name="TEXTBOX" val="EM FALT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fB9TD1qyEORjj_X31Ws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2i8NHTRkCHhfDrQoW8u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p_67kyoEKrU5vC1Ewfw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heme/theme1.xml><?xml version="1.0" encoding="utf-8"?>
<a:theme xmlns:a="http://schemas.openxmlformats.org/drawingml/2006/main" name="1_Pearls November new6">
  <a:themeElements>
    <a:clrScheme name="MCIM ASG Presentation Toolkit Scheme">
      <a:dk1>
        <a:sysClr val="windowText" lastClr="000000"/>
      </a:dk1>
      <a:lt1>
        <a:sysClr val="window" lastClr="FFFFFF"/>
      </a:lt1>
      <a:dk2>
        <a:srgbClr val="666666"/>
      </a:dk2>
      <a:lt2>
        <a:srgbClr val="778888"/>
      </a:lt2>
      <a:accent1>
        <a:srgbClr val="DD4411"/>
      </a:accent1>
      <a:accent2>
        <a:srgbClr val="FF0000"/>
      </a:accent2>
      <a:accent3>
        <a:srgbClr val="FF9900"/>
      </a:accent3>
      <a:accent4>
        <a:srgbClr val="BBBB00"/>
      </a:accent4>
      <a:accent5>
        <a:srgbClr val="557799"/>
      </a:accent5>
      <a:accent6>
        <a:srgbClr val="002266"/>
      </a:accent6>
      <a:hlink>
        <a:srgbClr val="551155"/>
      </a:hlink>
      <a:folHlink>
        <a:srgbClr val="BBBB00"/>
      </a:folHlink>
    </a:clrScheme>
    <a:fontScheme name="Custom 1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noFill/>
        <a:ln w="6350">
          <a:solidFill>
            <a:schemeClr val="bg1">
              <a:lumMod val="50000"/>
            </a:schemeClr>
          </a:solidFill>
          <a:miter lim="800000"/>
          <a:headEnd/>
          <a:tailEnd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  <a:noAutofit/>
      </a:bodyPr>
      <a:lstStyle>
        <a:defPPr marL="88900" indent="-88900" algn="just">
          <a:spcBef>
            <a:spcPts val="0"/>
          </a:spcBef>
          <a:spcAft>
            <a:spcPts val="300"/>
          </a:spcAft>
          <a:buFont typeface="Arial" pitchFamily="34" charset="0"/>
          <a:buChar char="•"/>
          <a:defRPr sz="1000" kern="0" dirty="0" smtClean="0">
            <a:solidFill>
              <a:sysClr val="windowText" lastClr="000000"/>
            </a:solidFill>
            <a:latin typeface="+mj-lt"/>
            <a:cs typeface="Arial" pitchFamily="34" charset="0"/>
          </a:defRPr>
        </a:defPPr>
      </a:lstStyle>
    </a:spDef>
    <a:txDef>
      <a:spPr>
        <a:ln w="9525"/>
      </a:spPr>
      <a:bodyPr wrap="square" lIns="91440" tIns="45720" rIns="91440" bIns="45720" rtlCol="0"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300"/>
          </a:spcBef>
          <a:spcAft>
            <a:spcPts val="300"/>
          </a:spcAft>
          <a:buClrTx/>
          <a:buSzTx/>
          <a:buFontTx/>
          <a:buNone/>
          <a:tabLst/>
          <a:defRPr kumimoji="0" sz="1400" b="0" i="0" u="none" strike="noStrike" kern="1200" cap="none" spc="0" normalizeH="0" baseline="0" noProof="0" dirty="0" smtClean="0">
            <a:ln>
              <a:noFill/>
            </a:ln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7302</TotalTime>
  <Words>2996</Words>
  <Application>Microsoft Office PowerPoint</Application>
  <PresentationFormat>Papel A4 (210x297 mm)</PresentationFormat>
  <Paragraphs>1203</Paragraphs>
  <Slides>29</Slides>
  <Notes>4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orporados</vt:lpstr>
      </vt:variant>
      <vt:variant>
        <vt:i4>1</vt:i4>
      </vt:variant>
      <vt:variant>
        <vt:lpstr>Títulos dos diapositivos</vt:lpstr>
      </vt:variant>
      <vt:variant>
        <vt:i4>29</vt:i4>
      </vt:variant>
    </vt:vector>
  </HeadingPairs>
  <TitlesOfParts>
    <vt:vector size="31" baseType="lpstr">
      <vt:lpstr>1_Pearls November new6</vt:lpstr>
      <vt:lpstr>think-cell Slid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>Accentur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o 1</dc:title>
  <dc:creator>DNEE</dc:creator>
  <dc:description>Accenture</dc:description>
  <cp:lastModifiedBy>Angelica Cristovao</cp:lastModifiedBy>
  <cp:revision>6139</cp:revision>
  <cp:lastPrinted>2014-07-30T14:05:04Z</cp:lastPrinted>
  <dcterms:created xsi:type="dcterms:W3CDTF">2011-02-03T10:00:12Z</dcterms:created>
  <dcterms:modified xsi:type="dcterms:W3CDTF">2015-08-07T07:00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</Properties>
</file>